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9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0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.xml" ContentType="application/vnd.openxmlformats-officedocument.presentationml.notesSlide+xml"/>
  <Override PartName="/ppt/tags/tag125.xml" ContentType="application/vnd.openxmlformats-officedocument.presentationml.tags+xml"/>
  <Override PartName="/ppt/notesSlides/notesSlide2.xml" ContentType="application/vnd.openxmlformats-officedocument.presentationml.notesSlide+xml"/>
  <Override PartName="/ppt/tags/tag126.xml" ContentType="application/vnd.openxmlformats-officedocument.presentationml.tags+xml"/>
  <Override PartName="/ppt/notesSlides/notesSlide3.xml" ContentType="application/vnd.openxmlformats-officedocument.presentationml.notesSlide+xml"/>
  <Override PartName="/ppt/tags/tag127.xml" ContentType="application/vnd.openxmlformats-officedocument.presentationml.tags+xml"/>
  <Override PartName="/ppt/notesSlides/notesSlide4.xml" ContentType="application/vnd.openxmlformats-officedocument.presentationml.notesSlide+xml"/>
  <Override PartName="/ppt/tags/tag128.xml" ContentType="application/vnd.openxmlformats-officedocument.presentationml.tags+xml"/>
  <Override PartName="/ppt/notesSlides/notesSlide5.xml" ContentType="application/vnd.openxmlformats-officedocument.presentationml.notesSlide+xml"/>
  <Override PartName="/ppt/tags/tag129.xml" ContentType="application/vnd.openxmlformats-officedocument.presentationml.tags+xml"/>
  <Override PartName="/ppt/notesSlides/notesSlide6.xml" ContentType="application/vnd.openxmlformats-officedocument.presentationml.notesSlide+xml"/>
  <Override PartName="/ppt/tags/tag130.xml" ContentType="application/vnd.openxmlformats-officedocument.presentationml.tags+xml"/>
  <Override PartName="/ppt/notesSlides/notesSlide7.xml" ContentType="application/vnd.openxmlformats-officedocument.presentationml.notesSlide+xml"/>
  <Override PartName="/ppt/tags/tag131.xml" ContentType="application/vnd.openxmlformats-officedocument.presentationml.tags+xml"/>
  <Override PartName="/ppt/notesSlides/notesSlide8.xml" ContentType="application/vnd.openxmlformats-officedocument.presentationml.notesSlide+xml"/>
  <Override PartName="/ppt/tags/tag132.xml" ContentType="application/vnd.openxmlformats-officedocument.presentationml.tags+xml"/>
  <Override PartName="/ppt/notesSlides/notesSlide9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10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  <p:sldMasterId id="2147483670" r:id="rId5"/>
    <p:sldMasterId id="2147483678" r:id="rId6"/>
    <p:sldMasterId id="2147483687" r:id="rId7"/>
    <p:sldMasterId id="2147483696" r:id="rId8"/>
    <p:sldMasterId id="2147483705" r:id="rId9"/>
    <p:sldMasterId id="2147483714" r:id="rId10"/>
    <p:sldMasterId id="2147483723" r:id="rId11"/>
    <p:sldMasterId id="2147483732" r:id="rId12"/>
    <p:sldMasterId id="2147483741" r:id="rId13"/>
  </p:sldMasterIdLst>
  <p:notesMasterIdLst>
    <p:notesMasterId r:id="rId25"/>
  </p:notesMasterIdLst>
  <p:handoutMasterIdLst>
    <p:handoutMasterId r:id="rId26"/>
  </p:handoutMasterIdLst>
  <p:sldIdLst>
    <p:sldId id="256" r:id="rId14"/>
    <p:sldId id="1762" r:id="rId15"/>
    <p:sldId id="2214" r:id="rId16"/>
    <p:sldId id="2216" r:id="rId17"/>
    <p:sldId id="2217" r:id="rId18"/>
    <p:sldId id="2219" r:id="rId19"/>
    <p:sldId id="2222" r:id="rId20"/>
    <p:sldId id="2220" r:id="rId21"/>
    <p:sldId id="2223" r:id="rId22"/>
    <p:sldId id="1598" r:id="rId23"/>
    <p:sldId id="221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Aurelien Domont" initials="AD" lastIdx="1" clrIdx="2">
    <p:extLst>
      <p:ext uri="{19B8F6BF-5375-455C-9EA6-DF929625EA0E}">
        <p15:presenceInfo xmlns:p15="http://schemas.microsoft.com/office/powerpoint/2012/main" userId="6da7715ce44349b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3EA9F5"/>
    <a:srgbClr val="EBF2FF"/>
    <a:srgbClr val="D3EFCE"/>
    <a:srgbClr val="F7F7F7"/>
    <a:srgbClr val="EBF6DE"/>
    <a:srgbClr val="D9D9D9"/>
    <a:srgbClr val="92D050"/>
    <a:srgbClr val="FF0000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65848B-9F1B-4AD0-AD98-692A2614DF16}" v="66" dt="2023-05-09T04:21:53.08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90" autoAdjust="0"/>
    <p:restoredTop sz="96357" autoAdjust="0"/>
  </p:normalViewPr>
  <p:slideViewPr>
    <p:cSldViewPr snapToGrid="0">
      <p:cViewPr varScale="1">
        <p:scale>
          <a:sx n="60" d="100"/>
          <a:sy n="60" d="100"/>
        </p:scale>
        <p:origin x="844" y="56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7AC1B791-F794-4DBF-AA31-1AC2AF41FF55}"/>
    <pc:docChg chg="addSld delSld modSld">
      <pc:chgData name="Aurelien Domont" userId="6da7715ce44349b3" providerId="LiveId" clId="{7AC1B791-F794-4DBF-AA31-1AC2AF41FF55}" dt="2023-02-02T02:10:23.619" v="2" actId="47"/>
      <pc:docMkLst>
        <pc:docMk/>
      </pc:docMkLst>
      <pc:sldChg chg="add">
        <pc:chgData name="Aurelien Domont" userId="6da7715ce44349b3" providerId="LiveId" clId="{7AC1B791-F794-4DBF-AA31-1AC2AF41FF55}" dt="2023-02-02T02:10:22.384" v="1"/>
        <pc:sldMkLst>
          <pc:docMk/>
          <pc:sldMk cId="1754585881" sldId="1598"/>
        </pc:sldMkLst>
      </pc:sldChg>
      <pc:sldChg chg="del">
        <pc:chgData name="Aurelien Domont" userId="6da7715ce44349b3" providerId="LiveId" clId="{7AC1B791-F794-4DBF-AA31-1AC2AF41FF55}" dt="2021-09-02T03:57:21.834" v="0" actId="47"/>
        <pc:sldMkLst>
          <pc:docMk/>
          <pc:sldMk cId="1877474728" sldId="2147"/>
        </pc:sldMkLst>
      </pc:sldChg>
      <pc:sldChg chg="del">
        <pc:chgData name="Aurelien Domont" userId="6da7715ce44349b3" providerId="LiveId" clId="{7AC1B791-F794-4DBF-AA31-1AC2AF41FF55}" dt="2021-09-02T03:57:21.834" v="0" actId="47"/>
        <pc:sldMkLst>
          <pc:docMk/>
          <pc:sldMk cId="2746892466" sldId="2148"/>
        </pc:sldMkLst>
      </pc:sldChg>
      <pc:sldChg chg="del">
        <pc:chgData name="Aurelien Domont" userId="6da7715ce44349b3" providerId="LiveId" clId="{7AC1B791-F794-4DBF-AA31-1AC2AF41FF55}" dt="2021-09-02T03:57:21.834" v="0" actId="47"/>
        <pc:sldMkLst>
          <pc:docMk/>
          <pc:sldMk cId="596178860" sldId="2149"/>
        </pc:sldMkLst>
      </pc:sldChg>
      <pc:sldChg chg="del">
        <pc:chgData name="Aurelien Domont" userId="6da7715ce44349b3" providerId="LiveId" clId="{7AC1B791-F794-4DBF-AA31-1AC2AF41FF55}" dt="2023-02-02T02:10:23.619" v="2" actId="47"/>
        <pc:sldMkLst>
          <pc:docMk/>
          <pc:sldMk cId="3788311075" sldId="2150"/>
        </pc:sldMkLst>
      </pc:sldChg>
      <pc:sldChg chg="add">
        <pc:chgData name="Aurelien Domont" userId="6da7715ce44349b3" providerId="LiveId" clId="{7AC1B791-F794-4DBF-AA31-1AC2AF41FF55}" dt="2023-02-02T02:10:22.384" v="1"/>
        <pc:sldMkLst>
          <pc:docMk/>
          <pc:sldMk cId="1289725493" sldId="2213"/>
        </pc:sldMkLst>
      </pc:sldChg>
    </pc:docChg>
  </pc:docChgLst>
  <pc:docChgLst>
    <pc:chgData name="Aurelien Domont" userId="6da7715ce44349b3" providerId="LiveId" clId="{4C33E7F4-0EB9-4D41-8688-1AD4B430A8CA}"/>
    <pc:docChg chg="custSel modSld">
      <pc:chgData name="Aurelien Domont" userId="6da7715ce44349b3" providerId="LiveId" clId="{4C33E7F4-0EB9-4D41-8688-1AD4B430A8CA}" dt="2020-11-24T04:57:38.828" v="20" actId="1036"/>
      <pc:docMkLst>
        <pc:docMk/>
      </pc:docMkLst>
      <pc:sldChg chg="modSp mod">
        <pc:chgData name="Aurelien Domont" userId="6da7715ce44349b3" providerId="LiveId" clId="{4C33E7F4-0EB9-4D41-8688-1AD4B430A8CA}" dt="2020-11-24T04:57:38.828" v="20" actId="1036"/>
        <pc:sldMkLst>
          <pc:docMk/>
          <pc:sldMk cId="2841604578" sldId="1762"/>
        </pc:sldMkLst>
        <pc:spChg chg="mod">
          <ac:chgData name="Aurelien Domont" userId="6da7715ce44349b3" providerId="LiveId" clId="{4C33E7F4-0EB9-4D41-8688-1AD4B430A8CA}" dt="2020-11-24T04:57:21.383" v="0" actId="33524"/>
          <ac:spMkLst>
            <pc:docMk/>
            <pc:sldMk cId="2841604578" sldId="1762"/>
            <ac:spMk id="26" creationId="{FE1E356E-2FF5-4AF0-B923-0CAEA682670F}"/>
          </ac:spMkLst>
        </pc:spChg>
        <pc:picChg chg="mod">
          <ac:chgData name="Aurelien Domont" userId="6da7715ce44349b3" providerId="LiveId" clId="{4C33E7F4-0EB9-4D41-8688-1AD4B430A8CA}" dt="2020-11-24T04:57:38.828" v="20" actId="1036"/>
          <ac:picMkLst>
            <pc:docMk/>
            <pc:sldMk cId="2841604578" sldId="1762"/>
            <ac:picMk id="15" creationId="{6D487B02-756B-43A6-ADE6-E2CBC8B4E70C}"/>
          </ac:picMkLst>
        </pc:picChg>
      </pc:sldChg>
    </pc:docChg>
  </pc:docChgLst>
  <pc:docChgLst>
    <pc:chgData name="Aurelien Domont" userId="6da7715ce44349b3" providerId="LiveId" clId="{1A65848B-9F1B-4AD0-AD98-692A2614DF16}"/>
    <pc:docChg chg="undo custSel addSld delSld modSld sldOrd modMainMaster">
      <pc:chgData name="Aurelien Domont" userId="6da7715ce44349b3" providerId="LiveId" clId="{1A65848B-9F1B-4AD0-AD98-692A2614DF16}" dt="2023-06-07T00:54:51.638" v="3487" actId="20577"/>
      <pc:docMkLst>
        <pc:docMk/>
      </pc:docMkLst>
      <pc:sldChg chg="addSp delSp modSp mod">
        <pc:chgData name="Aurelien Domont" userId="6da7715ce44349b3" providerId="LiveId" clId="{1A65848B-9F1B-4AD0-AD98-692A2614DF16}" dt="2023-05-09T04:21:59.402" v="3450" actId="1076"/>
        <pc:sldMkLst>
          <pc:docMk/>
          <pc:sldMk cId="3131901387" sldId="256"/>
        </pc:sldMkLst>
        <pc:spChg chg="mod">
          <ac:chgData name="Aurelien Domont" userId="6da7715ce44349b3" providerId="LiveId" clId="{1A65848B-9F1B-4AD0-AD98-692A2614DF16}" dt="2023-05-09T04:11:51.294" v="3444" actId="20577"/>
          <ac:spMkLst>
            <pc:docMk/>
            <pc:sldMk cId="3131901387" sldId="256"/>
            <ac:spMk id="2" creationId="{5261080C-C60C-4746-B6B1-A9A4FFA86785}"/>
          </ac:spMkLst>
        </pc:spChg>
        <pc:spChg chg="del">
          <ac:chgData name="Aurelien Domont" userId="6da7715ce44349b3" providerId="LiveId" clId="{1A65848B-9F1B-4AD0-AD98-692A2614DF16}" dt="2023-05-05T05:42:02.971" v="0" actId="478"/>
          <ac:spMkLst>
            <pc:docMk/>
            <pc:sldMk cId="3131901387" sldId="256"/>
            <ac:spMk id="3" creationId="{D781CD62-85AB-400E-A66C-9594AAD807B4}"/>
          </ac:spMkLst>
        </pc:spChg>
        <pc:spChg chg="add del mod">
          <ac:chgData name="Aurelien Domont" userId="6da7715ce44349b3" providerId="LiveId" clId="{1A65848B-9F1B-4AD0-AD98-692A2614DF16}" dt="2023-05-05T05:42:05.383" v="1" actId="478"/>
          <ac:spMkLst>
            <pc:docMk/>
            <pc:sldMk cId="3131901387" sldId="256"/>
            <ac:spMk id="7" creationId="{5779C59B-6E34-2533-0C19-3002D0610169}"/>
          </ac:spMkLst>
        </pc:spChg>
        <pc:spChg chg="add mod">
          <ac:chgData name="Aurelien Domont" userId="6da7715ce44349b3" providerId="LiveId" clId="{1A65848B-9F1B-4AD0-AD98-692A2614DF16}" dt="2023-05-05T05:42:28.836" v="4" actId="1076"/>
          <ac:spMkLst>
            <pc:docMk/>
            <pc:sldMk cId="3131901387" sldId="256"/>
            <ac:spMk id="13" creationId="{42CB704D-C26F-E100-A0A1-C3C25AB261D6}"/>
          </ac:spMkLst>
        </pc:spChg>
        <pc:picChg chg="add mod">
          <ac:chgData name="Aurelien Domont" userId="6da7715ce44349b3" providerId="LiveId" clId="{1A65848B-9F1B-4AD0-AD98-692A2614DF16}" dt="2023-05-09T04:21:59.402" v="3450" actId="1076"/>
          <ac:picMkLst>
            <pc:docMk/>
            <pc:sldMk cId="3131901387" sldId="256"/>
            <ac:picMk id="3" creationId="{70799132-41A7-4B2F-F570-0BD61D92489F}"/>
          </ac:picMkLst>
        </pc:picChg>
        <pc:picChg chg="del">
          <ac:chgData name="Aurelien Domont" userId="6da7715ce44349b3" providerId="LiveId" clId="{1A65848B-9F1B-4AD0-AD98-692A2614DF16}" dt="2023-05-09T04:21:52.719" v="3445" actId="478"/>
          <ac:picMkLst>
            <pc:docMk/>
            <pc:sldMk cId="3131901387" sldId="256"/>
            <ac:picMk id="14" creationId="{4323A288-DF62-40EE-A63D-BDD5F640613B}"/>
          </ac:picMkLst>
        </pc:picChg>
      </pc:sldChg>
      <pc:sldChg chg="modSp">
        <pc:chgData name="Aurelien Domont" userId="6da7715ce44349b3" providerId="LiveId" clId="{1A65848B-9F1B-4AD0-AD98-692A2614DF16}" dt="2023-05-05T06:37:03.994" v="2731"/>
        <pc:sldMkLst>
          <pc:docMk/>
          <pc:sldMk cId="1754585881" sldId="1598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754585881" sldId="1598"/>
            <ac:spMk id="6" creationId="{DE0F4260-85F5-47B2-8F90-716F6604029A}"/>
          </ac:spMkLst>
        </pc:spChg>
      </pc:sldChg>
      <pc:sldChg chg="addSp delSp modSp mod">
        <pc:chgData name="Aurelien Domont" userId="6da7715ce44349b3" providerId="LiveId" clId="{1A65848B-9F1B-4AD0-AD98-692A2614DF16}" dt="2023-05-05T06:37:03.994" v="2731"/>
        <pc:sldMkLst>
          <pc:docMk/>
          <pc:sldMk cId="2841604578" sldId="1762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841604578" sldId="1762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841604578" sldId="1762"/>
            <ac:spMk id="16" creationId="{6C2BB713-9637-4B9B-938F-E9768876782A}"/>
          </ac:spMkLst>
        </pc:spChg>
        <pc:spChg chg="del mod">
          <ac:chgData name="Aurelien Domont" userId="6da7715ce44349b3" providerId="LiveId" clId="{1A65848B-9F1B-4AD0-AD98-692A2614DF16}" dt="2023-05-05T05:47:56.570" v="96" actId="478"/>
          <ac:spMkLst>
            <pc:docMk/>
            <pc:sldMk cId="2841604578" sldId="1762"/>
            <ac:spMk id="17" creationId="{0E7B5BF7-52DC-45B6-AC66-4F4D6B7CCFAE}"/>
          </ac:spMkLst>
        </pc:spChg>
        <pc:spChg chg="del">
          <ac:chgData name="Aurelien Domont" userId="6da7715ce44349b3" providerId="LiveId" clId="{1A65848B-9F1B-4AD0-AD98-692A2614DF16}" dt="2023-05-05T05:47:11.986" v="90" actId="478"/>
          <ac:spMkLst>
            <pc:docMk/>
            <pc:sldMk cId="2841604578" sldId="1762"/>
            <ac:spMk id="18" creationId="{18DE14A6-A8B0-4F3D-A6F1-483F907E1C6C}"/>
          </ac:spMkLst>
        </pc:spChg>
        <pc:spChg chg="del">
          <ac:chgData name="Aurelien Domont" userId="6da7715ce44349b3" providerId="LiveId" clId="{1A65848B-9F1B-4AD0-AD98-692A2614DF16}" dt="2023-05-05T05:47:08.165" v="89" actId="478"/>
          <ac:spMkLst>
            <pc:docMk/>
            <pc:sldMk cId="2841604578" sldId="1762"/>
            <ac:spMk id="26" creationId="{FE1E356E-2FF5-4AF0-B923-0CAEA682670F}"/>
          </ac:spMkLst>
        </pc:spChg>
        <pc:picChg chg="add mod">
          <ac:chgData name="Aurelien Domont" userId="6da7715ce44349b3" providerId="LiveId" clId="{1A65848B-9F1B-4AD0-AD98-692A2614DF16}" dt="2023-05-05T05:49:29.705" v="113" actId="1076"/>
          <ac:picMkLst>
            <pc:docMk/>
            <pc:sldMk cId="2841604578" sldId="1762"/>
            <ac:picMk id="4" creationId="{E27D2780-3C7A-07D0-7766-0AACD5BFA38B}"/>
          </ac:picMkLst>
        </pc:picChg>
        <pc:picChg chg="del">
          <ac:chgData name="Aurelien Domont" userId="6da7715ce44349b3" providerId="LiveId" clId="{1A65848B-9F1B-4AD0-AD98-692A2614DF16}" dt="2023-05-05T05:46:55.901" v="85" actId="478"/>
          <ac:picMkLst>
            <pc:docMk/>
            <pc:sldMk cId="2841604578" sldId="1762"/>
            <ac:picMk id="15" creationId="{6D487B02-756B-43A6-ADE6-E2CBC8B4E70C}"/>
          </ac:picMkLst>
        </pc:picChg>
        <pc:picChg chg="del">
          <ac:chgData name="Aurelien Domont" userId="6da7715ce44349b3" providerId="LiveId" clId="{1A65848B-9F1B-4AD0-AD98-692A2614DF16}" dt="2023-05-05T05:46:55.901" v="85" actId="478"/>
          <ac:picMkLst>
            <pc:docMk/>
            <pc:sldMk cId="2841604578" sldId="1762"/>
            <ac:picMk id="20" creationId="{73446ADD-6F1B-41D9-B3AF-F15E76B2F733}"/>
          </ac:picMkLst>
        </pc:picChg>
      </pc:sldChg>
      <pc:sldChg chg="modSp del">
        <pc:chgData name="Aurelien Domont" userId="6da7715ce44349b3" providerId="LiveId" clId="{1A65848B-9F1B-4AD0-AD98-692A2614DF16}" dt="2023-05-05T06:50:31.237" v="3205" actId="47"/>
        <pc:sldMkLst>
          <pc:docMk/>
          <pc:sldMk cId="1762358644" sldId="2135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762358644" sldId="2135"/>
            <ac:spMk id="2" creationId="{7837E1C4-A2D7-4558-A504-36AC8920218D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762358644" sldId="2135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50:31.237" v="3205" actId="47"/>
        <pc:sldMkLst>
          <pc:docMk/>
          <pc:sldMk cId="4206465098" sldId="2157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206465098" sldId="2157"/>
            <ac:spMk id="2" creationId="{7837E1C4-A2D7-4558-A504-36AC8920218D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206465098" sldId="2157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8:43.552" v="2740" actId="47"/>
        <pc:sldMkLst>
          <pc:docMk/>
          <pc:sldMk cId="182314126" sldId="2160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82314126" sldId="2160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82314126" sldId="2160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8:49.004" v="2741" actId="47"/>
        <pc:sldMkLst>
          <pc:docMk/>
          <pc:sldMk cId="825432853" sldId="2161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825432853" sldId="2161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825432853" sldId="2161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8:57.904" v="2742" actId="47"/>
        <pc:sldMkLst>
          <pc:docMk/>
          <pc:sldMk cId="1447557785" sldId="2162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447557785" sldId="2162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447557785" sldId="2162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9:05.851" v="2743" actId="47"/>
        <pc:sldMkLst>
          <pc:docMk/>
          <pc:sldMk cId="2825418924" sldId="2163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825418924" sldId="2163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825418924" sldId="2163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9:10.492" v="2744" actId="47"/>
        <pc:sldMkLst>
          <pc:docMk/>
          <pc:sldMk cId="2490974694" sldId="2164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490974694" sldId="2164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490974694" sldId="2164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9:13.412" v="2745" actId="47"/>
        <pc:sldMkLst>
          <pc:docMk/>
          <pc:sldMk cId="2421207395" sldId="2165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421207395" sldId="2165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421207395" sldId="2165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9:14.558" v="2746" actId="47"/>
        <pc:sldMkLst>
          <pc:docMk/>
          <pc:sldMk cId="3061179433" sldId="2166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3061179433" sldId="2166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3061179433" sldId="2166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9:15.735" v="2747" actId="47"/>
        <pc:sldMkLst>
          <pc:docMk/>
          <pc:sldMk cId="403796288" sldId="2167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03796288" sldId="2167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03796288" sldId="2167"/>
            <ac:spMk id="16" creationId="{6C2BB713-9637-4B9B-938F-E9768876782A}"/>
          </ac:spMkLst>
        </pc:spChg>
      </pc:sldChg>
      <pc:sldChg chg="modSp">
        <pc:chgData name="Aurelien Domont" userId="6da7715ce44349b3" providerId="LiveId" clId="{1A65848B-9F1B-4AD0-AD98-692A2614DF16}" dt="2023-05-05T06:37:03.994" v="2731"/>
        <pc:sldMkLst>
          <pc:docMk/>
          <pc:sldMk cId="1289725493" sldId="2213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289725493" sldId="2213"/>
            <ac:spMk id="8" creationId="{3D029769-9B2F-4A51-8446-2206A9A2EF30}"/>
          </ac:spMkLst>
        </pc:spChg>
      </pc:sldChg>
      <pc:sldChg chg="addSp delSp modSp add mod">
        <pc:chgData name="Aurelien Domont" userId="6da7715ce44349b3" providerId="LiveId" clId="{1A65848B-9F1B-4AD0-AD98-692A2614DF16}" dt="2023-05-26T01:36:52.958" v="3485" actId="20577"/>
        <pc:sldMkLst>
          <pc:docMk/>
          <pc:sldMk cId="3483218684" sldId="2214"/>
        </pc:sldMkLst>
        <pc:spChg chg="add mod">
          <ac:chgData name="Aurelien Domont" userId="6da7715ce44349b3" providerId="LiveId" clId="{1A65848B-9F1B-4AD0-AD98-692A2614DF16}" dt="2023-05-05T05:55:26.064" v="618" actId="693"/>
          <ac:spMkLst>
            <pc:docMk/>
            <pc:sldMk cId="3483218684" sldId="2214"/>
            <ac:spMk id="2" creationId="{7BF7124F-6422-B885-0578-C3A4DE4F0B67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3483218684" sldId="2214"/>
            <ac:spMk id="3" creationId="{CE2529A3-BA97-486F-9E02-8DFAAA7D8D38}"/>
          </ac:spMkLst>
        </pc:spChg>
        <pc:spChg chg="add mod">
          <ac:chgData name="Aurelien Domont" userId="6da7715ce44349b3" providerId="LiveId" clId="{1A65848B-9F1B-4AD0-AD98-692A2614DF16}" dt="2023-05-05T05:54:35.816" v="566" actId="14861"/>
          <ac:spMkLst>
            <pc:docMk/>
            <pc:sldMk cId="3483218684" sldId="2214"/>
            <ac:spMk id="8" creationId="{F94F7269-B65E-8A57-4C49-A2C95AC3D119}"/>
          </ac:spMkLst>
        </pc:spChg>
        <pc:spChg chg="mod">
          <ac:chgData name="Aurelien Domont" userId="6da7715ce44349b3" providerId="LiveId" clId="{1A65848B-9F1B-4AD0-AD98-692A2614DF16}" dt="2023-05-26T01:36:52.958" v="3485" actId="20577"/>
          <ac:spMkLst>
            <pc:docMk/>
            <pc:sldMk cId="3483218684" sldId="2214"/>
            <ac:spMk id="16" creationId="{6C2BB713-9637-4B9B-938F-E9768876782A}"/>
          </ac:spMkLst>
        </pc:spChg>
        <pc:picChg chg="del">
          <ac:chgData name="Aurelien Domont" userId="6da7715ce44349b3" providerId="LiveId" clId="{1A65848B-9F1B-4AD0-AD98-692A2614DF16}" dt="2023-05-05T05:48:07.747" v="102" actId="478"/>
          <ac:picMkLst>
            <pc:docMk/>
            <pc:sldMk cId="3483218684" sldId="2214"/>
            <ac:picMk id="4" creationId="{E27D2780-3C7A-07D0-7766-0AACD5BFA38B}"/>
          </ac:picMkLst>
        </pc:picChg>
        <pc:picChg chg="add del">
          <ac:chgData name="Aurelien Domont" userId="6da7715ce44349b3" providerId="LiveId" clId="{1A65848B-9F1B-4AD0-AD98-692A2614DF16}" dt="2023-05-05T05:49:00.765" v="106" actId="478"/>
          <ac:picMkLst>
            <pc:docMk/>
            <pc:sldMk cId="3483218684" sldId="2214"/>
            <ac:picMk id="5" creationId="{0A556B36-A27E-19E9-98C9-B20FFC754D6D}"/>
          </ac:picMkLst>
        </pc:picChg>
        <pc:picChg chg="add mod">
          <ac:chgData name="Aurelien Domont" userId="6da7715ce44349b3" providerId="LiveId" clId="{1A65848B-9F1B-4AD0-AD98-692A2614DF16}" dt="2023-05-05T05:51:07.433" v="317" actId="1076"/>
          <ac:picMkLst>
            <pc:docMk/>
            <pc:sldMk cId="3483218684" sldId="2214"/>
            <ac:picMk id="7" creationId="{1F9FE409-D216-4728-E758-712122904805}"/>
          </ac:picMkLst>
        </pc:picChg>
      </pc:sldChg>
      <pc:sldChg chg="addSp modSp new del mod">
        <pc:chgData name="Aurelien Domont" userId="6da7715ce44349b3" providerId="LiveId" clId="{1A65848B-9F1B-4AD0-AD98-692A2614DF16}" dt="2023-05-05T06:50:31.237" v="3205" actId="47"/>
        <pc:sldMkLst>
          <pc:docMk/>
          <pc:sldMk cId="2186241859" sldId="2215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2" creationId="{764E2C9C-9A4D-92B4-8744-2E7ECACACA2E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3" creationId="{B3229FF6-BD83-B9F5-69F3-3FAE01250200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4" creationId="{7A575F2F-1958-7ADB-F140-EBA2003A8979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5" creationId="{37207DB3-F22D-AE5B-5BDE-D963344439D9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6" creationId="{FF145DDF-A03C-317E-DFDE-A6E943B9FCE5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7" creationId="{AA5AF83B-D914-E1EE-E060-A61EDFDC198C}"/>
          </ac:spMkLst>
        </pc:spChg>
        <pc:spChg chg="add mod">
          <ac:chgData name="Aurelien Domont" userId="6da7715ce44349b3" providerId="LiveId" clId="{1A65848B-9F1B-4AD0-AD98-692A2614DF16}" dt="2023-05-05T05:53:50.026" v="554" actId="207"/>
          <ac:spMkLst>
            <pc:docMk/>
            <pc:sldMk cId="2186241859" sldId="2215"/>
            <ac:spMk id="8" creationId="{35703D07-4C59-7DBF-FD69-B8A650AEF8FF}"/>
          </ac:spMkLst>
        </pc:spChg>
      </pc:sldChg>
      <pc:sldChg chg="addSp delSp modSp add mod">
        <pc:chgData name="Aurelien Domont" userId="6da7715ce44349b3" providerId="LiveId" clId="{1A65848B-9F1B-4AD0-AD98-692A2614DF16}" dt="2023-05-05T06:42:00.544" v="2776"/>
        <pc:sldMkLst>
          <pc:docMk/>
          <pc:sldMk cId="1958517497" sldId="2216"/>
        </pc:sldMkLst>
        <pc:spChg chg="del">
          <ac:chgData name="Aurelien Domont" userId="6da7715ce44349b3" providerId="LiveId" clId="{1A65848B-9F1B-4AD0-AD98-692A2614DF16}" dt="2023-05-05T05:59:21.445" v="780" actId="21"/>
          <ac:spMkLst>
            <pc:docMk/>
            <pc:sldMk cId="1958517497" sldId="2216"/>
            <ac:spMk id="3" creationId="{CE2529A3-BA97-486F-9E02-8DFAAA7D8D38}"/>
          </ac:spMkLst>
        </pc:spChg>
        <pc:spChg chg="add del mod">
          <ac:chgData name="Aurelien Domont" userId="6da7715ce44349b3" providerId="LiveId" clId="{1A65848B-9F1B-4AD0-AD98-692A2614DF16}" dt="2023-05-05T05:56:37.478" v="683" actId="478"/>
          <ac:spMkLst>
            <pc:docMk/>
            <pc:sldMk cId="1958517497" sldId="2216"/>
            <ac:spMk id="4" creationId="{2C27E2EE-80AE-D977-22F1-346D7BF5BEED}"/>
          </ac:spMkLst>
        </pc:spChg>
        <pc:spChg chg="add del mod">
          <ac:chgData name="Aurelien Domont" userId="6da7715ce44349b3" providerId="LiveId" clId="{1A65848B-9F1B-4AD0-AD98-692A2614DF16}" dt="2023-05-05T05:59:21.445" v="780" actId="21"/>
          <ac:spMkLst>
            <pc:docMk/>
            <pc:sldMk cId="1958517497" sldId="2216"/>
            <ac:spMk id="5" creationId="{F286BFD4-E2BC-A0FB-2FAD-55C5C34E48F9}"/>
          </ac:spMkLst>
        </pc:spChg>
        <pc:spChg chg="del">
          <ac:chgData name="Aurelien Domont" userId="6da7715ce44349b3" providerId="LiveId" clId="{1A65848B-9F1B-4AD0-AD98-692A2614DF16}" dt="2023-05-05T05:54:45.109" v="567" actId="478"/>
          <ac:spMkLst>
            <pc:docMk/>
            <pc:sldMk cId="1958517497" sldId="2216"/>
            <ac:spMk id="8" creationId="{F94F7269-B65E-8A57-4C49-A2C95AC3D119}"/>
          </ac:spMkLst>
        </pc:spChg>
        <pc:spChg chg="add mod">
          <ac:chgData name="Aurelien Domont" userId="6da7715ce44349b3" providerId="LiveId" clId="{1A65848B-9F1B-4AD0-AD98-692A2614DF16}" dt="2023-05-05T05:59:18.148" v="779"/>
          <ac:spMkLst>
            <pc:docMk/>
            <pc:sldMk cId="1958517497" sldId="2216"/>
            <ac:spMk id="11" creationId="{ACE97344-ECA0-A89B-C576-7DC73EA25B5B}"/>
          </ac:spMkLst>
        </pc:spChg>
        <pc:spChg chg="add mod">
          <ac:chgData name="Aurelien Domont" userId="6da7715ce44349b3" providerId="LiveId" clId="{1A65848B-9F1B-4AD0-AD98-692A2614DF16}" dt="2023-05-05T06:42:00.544" v="2776"/>
          <ac:spMkLst>
            <pc:docMk/>
            <pc:sldMk cId="1958517497" sldId="2216"/>
            <ac:spMk id="12" creationId="{2841CC0B-AD2D-A528-432E-F4D6BAA34DFC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958517497" sldId="2216"/>
            <ac:spMk id="16" creationId="{6C2BB713-9637-4B9B-938F-E9768876782A}"/>
          </ac:spMkLst>
        </pc:spChg>
        <pc:picChg chg="add del mod">
          <ac:chgData name="Aurelien Domont" userId="6da7715ce44349b3" providerId="LiveId" clId="{1A65848B-9F1B-4AD0-AD98-692A2614DF16}" dt="2023-05-05T05:58:11.439" v="762" actId="478"/>
          <ac:picMkLst>
            <pc:docMk/>
            <pc:sldMk cId="1958517497" sldId="2216"/>
            <ac:picMk id="2" creationId="{B55D5E2B-E4A8-B086-2532-18D28B9E4B52}"/>
          </ac:picMkLst>
        </pc:picChg>
        <pc:picChg chg="del">
          <ac:chgData name="Aurelien Domont" userId="6da7715ce44349b3" providerId="LiveId" clId="{1A65848B-9F1B-4AD0-AD98-692A2614DF16}" dt="2023-05-05T05:54:45.109" v="567" actId="478"/>
          <ac:picMkLst>
            <pc:docMk/>
            <pc:sldMk cId="1958517497" sldId="2216"/>
            <ac:picMk id="7" creationId="{1F9FE409-D216-4728-E758-712122904805}"/>
          </ac:picMkLst>
        </pc:picChg>
        <pc:picChg chg="add del mod ord">
          <ac:chgData name="Aurelien Domont" userId="6da7715ce44349b3" providerId="LiveId" clId="{1A65848B-9F1B-4AD0-AD98-692A2614DF16}" dt="2023-05-05T05:59:21.445" v="780" actId="21"/>
          <ac:picMkLst>
            <pc:docMk/>
            <pc:sldMk cId="1958517497" sldId="2216"/>
            <ac:picMk id="9" creationId="{B8191BB0-E3C4-AE5A-355A-58089D60F7B2}"/>
          </ac:picMkLst>
        </pc:picChg>
        <pc:picChg chg="add mod">
          <ac:chgData name="Aurelien Domont" userId="6da7715ce44349b3" providerId="LiveId" clId="{1A65848B-9F1B-4AD0-AD98-692A2614DF16}" dt="2023-05-05T05:59:18.148" v="779"/>
          <ac:picMkLst>
            <pc:docMk/>
            <pc:sldMk cId="1958517497" sldId="2216"/>
            <ac:picMk id="10" creationId="{7007C82F-3F7B-69AB-437E-1F10B8FF99C5}"/>
          </ac:picMkLst>
        </pc:picChg>
      </pc:sldChg>
      <pc:sldChg chg="addSp delSp modSp add mod">
        <pc:chgData name="Aurelien Domont" userId="6da7715ce44349b3" providerId="LiveId" clId="{1A65848B-9F1B-4AD0-AD98-692A2614DF16}" dt="2023-05-05T06:41:50.782" v="2775" actId="478"/>
        <pc:sldMkLst>
          <pc:docMk/>
          <pc:sldMk cId="1567968009" sldId="2217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567968009" sldId="2217"/>
            <ac:spMk id="3" creationId="{CE2529A3-BA97-486F-9E02-8DFAAA7D8D38}"/>
          </ac:spMkLst>
        </pc:spChg>
        <pc:spChg chg="del mod">
          <ac:chgData name="Aurelien Domont" userId="6da7715ce44349b3" providerId="LiveId" clId="{1A65848B-9F1B-4AD0-AD98-692A2614DF16}" dt="2023-05-05T05:59:24.266" v="781" actId="478"/>
          <ac:spMkLst>
            <pc:docMk/>
            <pc:sldMk cId="1567968009" sldId="2217"/>
            <ac:spMk id="5" creationId="{F286BFD4-E2BC-A0FB-2FAD-55C5C34E48F9}"/>
          </ac:spMkLst>
        </pc:spChg>
        <pc:spChg chg="add del mod">
          <ac:chgData name="Aurelien Domont" userId="6da7715ce44349b3" providerId="LiveId" clId="{1A65848B-9F1B-4AD0-AD98-692A2614DF16}" dt="2023-05-05T06:41:50.782" v="2775" actId="478"/>
          <ac:spMkLst>
            <pc:docMk/>
            <pc:sldMk cId="1567968009" sldId="2217"/>
            <ac:spMk id="6" creationId="{061F3026-0FD7-506E-BDFA-DDE75B3643B5}"/>
          </ac:spMkLst>
        </pc:spChg>
        <pc:spChg chg="add mod">
          <ac:chgData name="Aurelien Domont" userId="6da7715ce44349b3" providerId="LiveId" clId="{1A65848B-9F1B-4AD0-AD98-692A2614DF16}" dt="2023-05-05T05:59:56.153" v="787" actId="14100"/>
          <ac:spMkLst>
            <pc:docMk/>
            <pc:sldMk cId="1567968009" sldId="2217"/>
            <ac:spMk id="7" creationId="{E0C20967-A879-7D35-CDC8-E03CD580E54B}"/>
          </ac:spMkLst>
        </pc:spChg>
        <pc:spChg chg="add mod">
          <ac:chgData name="Aurelien Domont" userId="6da7715ce44349b3" providerId="LiveId" clId="{1A65848B-9F1B-4AD0-AD98-692A2614DF16}" dt="2023-05-05T06:04:06.036" v="1212" actId="20577"/>
          <ac:spMkLst>
            <pc:docMk/>
            <pc:sldMk cId="1567968009" sldId="2217"/>
            <ac:spMk id="8" creationId="{2543CC0E-0444-FB1D-A842-198CAEA10CA7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567968009" sldId="2217"/>
            <ac:spMk id="16" creationId="{6C2BB713-9637-4B9B-938F-E9768876782A}"/>
          </ac:spMkLst>
        </pc:spChg>
        <pc:picChg chg="del mod">
          <ac:chgData name="Aurelien Domont" userId="6da7715ce44349b3" providerId="LiveId" clId="{1A65848B-9F1B-4AD0-AD98-692A2614DF16}" dt="2023-05-05T05:59:24.266" v="781" actId="478"/>
          <ac:picMkLst>
            <pc:docMk/>
            <pc:sldMk cId="1567968009" sldId="2217"/>
            <ac:picMk id="2" creationId="{B55D5E2B-E4A8-B086-2532-18D28B9E4B52}"/>
          </ac:picMkLst>
        </pc:picChg>
        <pc:picChg chg="add mod">
          <ac:chgData name="Aurelien Domont" userId="6da7715ce44349b3" providerId="LiveId" clId="{1A65848B-9F1B-4AD0-AD98-692A2614DF16}" dt="2023-05-05T05:59:32.190" v="784" actId="14861"/>
          <ac:picMkLst>
            <pc:docMk/>
            <pc:sldMk cId="1567968009" sldId="2217"/>
            <ac:picMk id="4" creationId="{069E7982-A4BC-4467-4480-EA22A2B7B45C}"/>
          </ac:picMkLst>
        </pc:picChg>
      </pc:sldChg>
      <pc:sldChg chg="addSp modSp add del mod ord">
        <pc:chgData name="Aurelien Domont" userId="6da7715ce44349b3" providerId="LiveId" clId="{1A65848B-9F1B-4AD0-AD98-692A2614DF16}" dt="2023-05-05T06:38:39.001" v="2739" actId="47"/>
        <pc:sldMkLst>
          <pc:docMk/>
          <pc:sldMk cId="273684372" sldId="2218"/>
        </pc:sldMkLst>
        <pc:spChg chg="add mod">
          <ac:chgData name="Aurelien Domont" userId="6da7715ce44349b3" providerId="LiveId" clId="{1A65848B-9F1B-4AD0-AD98-692A2614DF16}" dt="2023-05-05T06:04:41.063" v="1242" actId="14100"/>
          <ac:spMkLst>
            <pc:docMk/>
            <pc:sldMk cId="273684372" sldId="2218"/>
            <ac:spMk id="2" creationId="{40D5D8E5-E3C0-E77B-E654-AF9E04AEA144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73684372" sldId="2218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04:37.165" v="1240" actId="14100"/>
          <ac:spMkLst>
            <pc:docMk/>
            <pc:sldMk cId="273684372" sldId="2218"/>
            <ac:spMk id="7" creationId="{E0C20967-A879-7D35-CDC8-E03CD580E54B}"/>
          </ac:spMkLst>
        </pc:spChg>
        <pc:spChg chg="mod">
          <ac:chgData name="Aurelien Domont" userId="6da7715ce44349b3" providerId="LiveId" clId="{1A65848B-9F1B-4AD0-AD98-692A2614DF16}" dt="2023-05-05T06:18:07.177" v="2110" actId="20577"/>
          <ac:spMkLst>
            <pc:docMk/>
            <pc:sldMk cId="273684372" sldId="2218"/>
            <ac:spMk id="8" creationId="{2543CC0E-0444-FB1D-A842-198CAEA10CA7}"/>
          </ac:spMkLst>
        </pc:spChg>
        <pc:spChg chg="add mod">
          <ac:chgData name="Aurelien Domont" userId="6da7715ce44349b3" providerId="LiveId" clId="{1A65848B-9F1B-4AD0-AD98-692A2614DF16}" dt="2023-05-05T06:04:43.207" v="1244" actId="571"/>
          <ac:spMkLst>
            <pc:docMk/>
            <pc:sldMk cId="273684372" sldId="2218"/>
            <ac:spMk id="9" creationId="{DC885B64-41E9-3320-3468-4BE19E572608}"/>
          </ac:spMkLst>
        </pc:spChg>
        <pc:spChg chg="add mod">
          <ac:chgData name="Aurelien Domont" userId="6da7715ce44349b3" providerId="LiveId" clId="{1A65848B-9F1B-4AD0-AD98-692A2614DF16}" dt="2023-05-05T06:04:46.154" v="1246" actId="571"/>
          <ac:spMkLst>
            <pc:docMk/>
            <pc:sldMk cId="273684372" sldId="2218"/>
            <ac:spMk id="11" creationId="{7D9F629C-5FF6-5C11-F739-AF5F1C2A62B7}"/>
          </ac:spMkLst>
        </pc:spChg>
        <pc:spChg chg="add mod">
          <ac:chgData name="Aurelien Domont" userId="6da7715ce44349b3" providerId="LiveId" clId="{1A65848B-9F1B-4AD0-AD98-692A2614DF16}" dt="2023-05-05T06:04:49.879" v="1247" actId="571"/>
          <ac:spMkLst>
            <pc:docMk/>
            <pc:sldMk cId="273684372" sldId="2218"/>
            <ac:spMk id="12" creationId="{9DF8D944-CD54-CFAE-E26F-56F139519B80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73684372" sldId="2218"/>
            <ac:spMk id="16" creationId="{6C2BB713-9637-4B9B-938F-E9768876782A}"/>
          </ac:spMkLst>
        </pc:spChg>
        <pc:picChg chg="add mod">
          <ac:chgData name="Aurelien Domont" userId="6da7715ce44349b3" providerId="LiveId" clId="{1A65848B-9F1B-4AD0-AD98-692A2614DF16}" dt="2023-05-05T06:04:43.207" v="1244" actId="571"/>
          <ac:picMkLst>
            <pc:docMk/>
            <pc:sldMk cId="273684372" sldId="2218"/>
            <ac:picMk id="5" creationId="{E3D8E691-CD54-051B-66BA-A0FB1A48A926}"/>
          </ac:picMkLst>
        </pc:picChg>
        <pc:picChg chg="add mod">
          <ac:chgData name="Aurelien Domont" userId="6da7715ce44349b3" providerId="LiveId" clId="{1A65848B-9F1B-4AD0-AD98-692A2614DF16}" dt="2023-05-05T06:04:46.154" v="1246" actId="571"/>
          <ac:picMkLst>
            <pc:docMk/>
            <pc:sldMk cId="273684372" sldId="2218"/>
            <ac:picMk id="10" creationId="{9CE27CB9-6E0B-2909-B0FB-754A6F9A0D3F}"/>
          </ac:picMkLst>
        </pc:picChg>
      </pc:sldChg>
      <pc:sldChg chg="modSp add del mod">
        <pc:chgData name="Aurelien Domont" userId="6da7715ce44349b3" providerId="LiveId" clId="{1A65848B-9F1B-4AD0-AD98-692A2614DF16}" dt="2023-05-05T06:12:00.099" v="1883" actId="47"/>
        <pc:sldMkLst>
          <pc:docMk/>
          <pc:sldMk cId="597113076" sldId="2219"/>
        </pc:sldMkLst>
        <pc:spChg chg="mod">
          <ac:chgData name="Aurelien Domont" userId="6da7715ce44349b3" providerId="LiveId" clId="{1A65848B-9F1B-4AD0-AD98-692A2614DF16}" dt="2023-05-05T06:07:20.986" v="1523" actId="20577"/>
          <ac:spMkLst>
            <pc:docMk/>
            <pc:sldMk cId="597113076" sldId="2219"/>
            <ac:spMk id="16" creationId="{6C2BB713-9637-4B9B-938F-E9768876782A}"/>
          </ac:spMkLst>
        </pc:spChg>
      </pc:sldChg>
      <pc:sldChg chg="addSp delSp modSp add mod">
        <pc:chgData name="Aurelien Domont" userId="6da7715ce44349b3" providerId="LiveId" clId="{1A65848B-9F1B-4AD0-AD98-692A2614DF16}" dt="2023-05-08T05:45:09.048" v="3442" actId="478"/>
        <pc:sldMkLst>
          <pc:docMk/>
          <pc:sldMk cId="4166839729" sldId="2219"/>
        </pc:sldMkLst>
        <pc:spChg chg="del">
          <ac:chgData name="Aurelien Domont" userId="6da7715ce44349b3" providerId="LiveId" clId="{1A65848B-9F1B-4AD0-AD98-692A2614DF16}" dt="2023-05-05T06:12:06.884" v="1887" actId="478"/>
          <ac:spMkLst>
            <pc:docMk/>
            <pc:sldMk cId="4166839729" sldId="2219"/>
            <ac:spMk id="2" creationId="{40D5D8E5-E3C0-E77B-E654-AF9E04AEA144}"/>
          </ac:spMkLst>
        </pc:spChg>
        <pc:spChg chg="add del mod">
          <ac:chgData name="Aurelien Domont" userId="6da7715ce44349b3" providerId="LiveId" clId="{1A65848B-9F1B-4AD0-AD98-692A2614DF16}" dt="2023-05-08T05:45:09.048" v="3442" actId="478"/>
          <ac:spMkLst>
            <pc:docMk/>
            <pc:sldMk cId="4166839729" sldId="2219"/>
            <ac:spMk id="2" creationId="{85C0AFDF-D738-F535-8E20-0A54E93B6A23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166839729" sldId="2219"/>
            <ac:spMk id="3" creationId="{CE2529A3-BA97-486F-9E02-8DFAAA7D8D38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5" creationId="{715C938B-09B2-FA4E-4348-15BA21831143}"/>
          </ac:spMkLst>
        </pc:spChg>
        <pc:spChg chg="del mod">
          <ac:chgData name="Aurelien Domont" userId="6da7715ce44349b3" providerId="LiveId" clId="{1A65848B-9F1B-4AD0-AD98-692A2614DF16}" dt="2023-05-05T06:41:47.883" v="2774" actId="478"/>
          <ac:spMkLst>
            <pc:docMk/>
            <pc:sldMk cId="4166839729" sldId="2219"/>
            <ac:spMk id="6" creationId="{061F3026-0FD7-506E-BDFA-DDE75B3643B5}"/>
          </ac:spMkLst>
        </pc:spChg>
        <pc:spChg chg="del">
          <ac:chgData name="Aurelien Domont" userId="6da7715ce44349b3" providerId="LiveId" clId="{1A65848B-9F1B-4AD0-AD98-692A2614DF16}" dt="2023-05-05T06:12:06.884" v="1887" actId="478"/>
          <ac:spMkLst>
            <pc:docMk/>
            <pc:sldMk cId="4166839729" sldId="2219"/>
            <ac:spMk id="7" creationId="{E0C20967-A879-7D35-CDC8-E03CD580E54B}"/>
          </ac:spMkLst>
        </pc:spChg>
        <pc:spChg chg="del">
          <ac:chgData name="Aurelien Domont" userId="6da7715ce44349b3" providerId="LiveId" clId="{1A65848B-9F1B-4AD0-AD98-692A2614DF16}" dt="2023-05-05T06:12:06.884" v="1887" actId="478"/>
          <ac:spMkLst>
            <pc:docMk/>
            <pc:sldMk cId="4166839729" sldId="2219"/>
            <ac:spMk id="8" creationId="{2543CC0E-0444-FB1D-A842-198CAEA10CA7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9" creationId="{5570BD1A-4992-BF23-4DB2-DECF83CBA167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10" creationId="{DA09983E-DAB6-D790-81AE-261956D08694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11" creationId="{AB247AC3-2E7A-4CA1-2780-871AC7D977F8}"/>
          </ac:spMkLst>
        </pc:spChg>
        <pc:spChg chg="del">
          <ac:chgData name="Aurelien Domont" userId="6da7715ce44349b3" providerId="LiveId" clId="{1A65848B-9F1B-4AD0-AD98-692A2614DF16}" dt="2023-05-05T06:12:06.884" v="1887" actId="478"/>
          <ac:spMkLst>
            <pc:docMk/>
            <pc:sldMk cId="4166839729" sldId="2219"/>
            <ac:spMk id="12" creationId="{9DF8D944-CD54-CFAE-E26F-56F139519B80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14" creationId="{7ABBC8D6-4349-F465-7209-812581166E17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15" creationId="{9A60A24A-A998-D579-E46C-4397D5A9C432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166839729" sldId="2219"/>
            <ac:spMk id="16" creationId="{6C2BB713-9637-4B9B-938F-E9768876782A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17" creationId="{5EAB1704-779F-6DE5-D2AE-CA24B931ED03}"/>
          </ac:spMkLst>
        </pc:spChg>
        <pc:spChg chg="add mod">
          <ac:chgData name="Aurelien Domont" userId="6da7715ce44349b3" providerId="LiveId" clId="{1A65848B-9F1B-4AD0-AD98-692A2614DF16}" dt="2023-05-05T06:39:52.631" v="2754" actId="113"/>
          <ac:spMkLst>
            <pc:docMk/>
            <pc:sldMk cId="4166839729" sldId="2219"/>
            <ac:spMk id="18" creationId="{F758C308-CEEB-89CE-E70C-79B169510408}"/>
          </ac:spMkLst>
        </pc:spChg>
        <pc:spChg chg="add mod">
          <ac:chgData name="Aurelien Domont" userId="6da7715ce44349b3" providerId="LiveId" clId="{1A65848B-9F1B-4AD0-AD98-692A2614DF16}" dt="2023-05-05T06:39:52.631" v="2754" actId="113"/>
          <ac:spMkLst>
            <pc:docMk/>
            <pc:sldMk cId="4166839729" sldId="2219"/>
            <ac:spMk id="19" creationId="{CAF5BB3A-3EE3-68C2-B5B6-B05A5209A5FA}"/>
          </ac:spMkLst>
        </pc:spChg>
        <pc:spChg chg="add del mod">
          <ac:chgData name="Aurelien Domont" userId="6da7715ce44349b3" providerId="LiveId" clId="{1A65848B-9F1B-4AD0-AD98-692A2614DF16}" dt="2023-05-05T06:14:24.170" v="1982" actId="478"/>
          <ac:spMkLst>
            <pc:docMk/>
            <pc:sldMk cId="4166839729" sldId="2219"/>
            <ac:spMk id="20" creationId="{9030C0A9-EABA-6E2B-433C-A7F3142CB72A}"/>
          </ac:spMkLst>
        </pc:spChg>
        <pc:spChg chg="add del mod">
          <ac:chgData name="Aurelien Domont" userId="6da7715ce44349b3" providerId="LiveId" clId="{1A65848B-9F1B-4AD0-AD98-692A2614DF16}" dt="2023-05-05T06:14:24.170" v="1982" actId="478"/>
          <ac:spMkLst>
            <pc:docMk/>
            <pc:sldMk cId="4166839729" sldId="2219"/>
            <ac:spMk id="21" creationId="{1979CF9A-4894-C4BC-CCC9-BFE0D160CED7}"/>
          </ac:spMkLst>
        </pc:spChg>
        <pc:spChg chg="add mod">
          <ac:chgData name="Aurelien Domont" userId="6da7715ce44349b3" providerId="LiveId" clId="{1A65848B-9F1B-4AD0-AD98-692A2614DF16}" dt="2023-05-05T06:14:30.521" v="1984" actId="571"/>
          <ac:spMkLst>
            <pc:docMk/>
            <pc:sldMk cId="4166839729" sldId="2219"/>
            <ac:spMk id="22" creationId="{C2D47809-185C-1BCE-C8ED-D710909717C1}"/>
          </ac:spMkLst>
        </pc:spChg>
        <pc:spChg chg="add mod">
          <ac:chgData name="Aurelien Domont" userId="6da7715ce44349b3" providerId="LiveId" clId="{1A65848B-9F1B-4AD0-AD98-692A2614DF16}" dt="2023-05-08T05:45:06.291" v="3440" actId="20577"/>
          <ac:spMkLst>
            <pc:docMk/>
            <pc:sldMk cId="4166839729" sldId="2219"/>
            <ac:spMk id="23" creationId="{C6353779-E9D7-89C6-956A-F7FB4DD80076}"/>
          </ac:spMkLst>
        </pc:spChg>
        <pc:spChg chg="add del mod">
          <ac:chgData name="Aurelien Domont" userId="6da7715ce44349b3" providerId="LiveId" clId="{1A65848B-9F1B-4AD0-AD98-692A2614DF16}" dt="2023-05-05T06:15:49.186" v="2015" actId="478"/>
          <ac:spMkLst>
            <pc:docMk/>
            <pc:sldMk cId="4166839729" sldId="2219"/>
            <ac:spMk id="24" creationId="{62EEDBCC-4990-44EB-1ADC-E8A6981ECB66}"/>
          </ac:spMkLst>
        </pc:spChg>
        <pc:spChg chg="add del mod">
          <ac:chgData name="Aurelien Domont" userId="6da7715ce44349b3" providerId="LiveId" clId="{1A65848B-9F1B-4AD0-AD98-692A2614DF16}" dt="2023-05-05T06:14:54.342" v="1989" actId="478"/>
          <ac:spMkLst>
            <pc:docMk/>
            <pc:sldMk cId="4166839729" sldId="2219"/>
            <ac:spMk id="25" creationId="{294D410F-6881-8532-3A37-7378B17F0303}"/>
          </ac:spMkLst>
        </pc:spChg>
        <pc:spChg chg="add del mod">
          <ac:chgData name="Aurelien Domont" userId="6da7715ce44349b3" providerId="LiveId" clId="{1A65848B-9F1B-4AD0-AD98-692A2614DF16}" dt="2023-05-05T06:14:53.044" v="1988" actId="478"/>
          <ac:spMkLst>
            <pc:docMk/>
            <pc:sldMk cId="4166839729" sldId="2219"/>
            <ac:spMk id="26" creationId="{CCF2B515-9B83-58A2-C1F6-DCC47CE80BCD}"/>
          </ac:spMkLst>
        </pc:spChg>
        <pc:spChg chg="add mod">
          <ac:chgData name="Aurelien Domont" userId="6da7715ce44349b3" providerId="LiveId" clId="{1A65848B-9F1B-4AD0-AD98-692A2614DF16}" dt="2023-05-05T06:14:58.169" v="1991" actId="571"/>
          <ac:spMkLst>
            <pc:docMk/>
            <pc:sldMk cId="4166839729" sldId="2219"/>
            <ac:spMk id="27" creationId="{30412534-1DF2-E837-84B1-D5FA2B09E652}"/>
          </ac:spMkLst>
        </pc:spChg>
        <pc:spChg chg="add del mod">
          <ac:chgData name="Aurelien Domont" userId="6da7715ce44349b3" providerId="LiveId" clId="{1A65848B-9F1B-4AD0-AD98-692A2614DF16}" dt="2023-05-05T06:33:30.398" v="2577" actId="478"/>
          <ac:spMkLst>
            <pc:docMk/>
            <pc:sldMk cId="4166839729" sldId="2219"/>
            <ac:spMk id="28" creationId="{431F00DF-A310-FFC3-4A99-D604DDFC60AE}"/>
          </ac:spMkLst>
        </pc:spChg>
        <pc:spChg chg="add del mod">
          <ac:chgData name="Aurelien Domont" userId="6da7715ce44349b3" providerId="LiveId" clId="{1A65848B-9F1B-4AD0-AD98-692A2614DF16}" dt="2023-05-05T06:33:30.398" v="2577" actId="478"/>
          <ac:spMkLst>
            <pc:docMk/>
            <pc:sldMk cId="4166839729" sldId="2219"/>
            <ac:spMk id="29" creationId="{59140BD2-BBD9-1020-13C0-C2A80BAE9D3B}"/>
          </ac:spMkLst>
        </pc:spChg>
        <pc:spChg chg="add del mod">
          <ac:chgData name="Aurelien Domont" userId="6da7715ce44349b3" providerId="LiveId" clId="{1A65848B-9F1B-4AD0-AD98-692A2614DF16}" dt="2023-05-05T06:33:30.398" v="2577" actId="478"/>
          <ac:spMkLst>
            <pc:docMk/>
            <pc:sldMk cId="4166839729" sldId="2219"/>
            <ac:spMk id="30" creationId="{18A642AD-9597-63CE-DC54-4F4270E0F7E0}"/>
          </ac:spMkLst>
        </pc:spChg>
        <pc:spChg chg="add mod">
          <ac:chgData name="Aurelien Domont" userId="6da7715ce44349b3" providerId="LiveId" clId="{1A65848B-9F1B-4AD0-AD98-692A2614DF16}" dt="2023-05-05T06:15:34.674" v="2010" actId="571"/>
          <ac:spMkLst>
            <pc:docMk/>
            <pc:sldMk cId="4166839729" sldId="2219"/>
            <ac:spMk id="31" creationId="{9EDE4972-0DF3-C8EA-5D62-AE895D4B5E35}"/>
          </ac:spMkLst>
        </pc:spChg>
        <pc:spChg chg="add del mod">
          <ac:chgData name="Aurelien Domont" userId="6da7715ce44349b3" providerId="LiveId" clId="{1A65848B-9F1B-4AD0-AD98-692A2614DF16}" dt="2023-05-05T06:33:30.398" v="2577" actId="478"/>
          <ac:spMkLst>
            <pc:docMk/>
            <pc:sldMk cId="4166839729" sldId="2219"/>
            <ac:spMk id="32" creationId="{3B373160-F080-80BB-097F-4D5133AA1243}"/>
          </ac:spMkLst>
        </pc:spChg>
        <pc:spChg chg="add del mod">
          <ac:chgData name="Aurelien Domont" userId="6da7715ce44349b3" providerId="LiveId" clId="{1A65848B-9F1B-4AD0-AD98-692A2614DF16}" dt="2023-05-05T06:33:30.398" v="2577" actId="478"/>
          <ac:spMkLst>
            <pc:docMk/>
            <pc:sldMk cId="4166839729" sldId="2219"/>
            <ac:spMk id="33" creationId="{720E05B7-56D1-7809-69A8-723B44150579}"/>
          </ac:spMkLst>
        </pc:spChg>
        <pc:spChg chg="add mod">
          <ac:chgData name="Aurelien Domont" userId="6da7715ce44349b3" providerId="LiveId" clId="{1A65848B-9F1B-4AD0-AD98-692A2614DF16}" dt="2023-05-08T05:45:02.120" v="3427" actId="404"/>
          <ac:spMkLst>
            <pc:docMk/>
            <pc:sldMk cId="4166839729" sldId="2219"/>
            <ac:spMk id="34" creationId="{A0CC5CCF-1F63-EBD7-C6A7-13DF617B15C2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35" creationId="{757458C6-45B9-89E5-0122-3249D0964E4D}"/>
          </ac:spMkLst>
        </pc:spChg>
        <pc:spChg chg="add mod">
          <ac:chgData name="Aurelien Domont" userId="6da7715ce44349b3" providerId="LiveId" clId="{1A65848B-9F1B-4AD0-AD98-692A2614DF16}" dt="2023-05-08T05:45:02.120" v="3427" actId="404"/>
          <ac:spMkLst>
            <pc:docMk/>
            <pc:sldMk cId="4166839729" sldId="2219"/>
            <ac:spMk id="36" creationId="{A810A1F2-BCDF-14FF-EB18-E75D5F5FC587}"/>
          </ac:spMkLst>
        </pc:spChg>
        <pc:spChg chg="add mod">
          <ac:chgData name="Aurelien Domont" userId="6da7715ce44349b3" providerId="LiveId" clId="{1A65848B-9F1B-4AD0-AD98-692A2614DF16}" dt="2023-05-08T05:45:02.120" v="3427" actId="404"/>
          <ac:spMkLst>
            <pc:docMk/>
            <pc:sldMk cId="4166839729" sldId="2219"/>
            <ac:spMk id="37" creationId="{C13E7937-6AFB-C061-B8FC-CFEE8B9AF782}"/>
          </ac:spMkLst>
        </pc:spChg>
        <pc:spChg chg="add del mod">
          <ac:chgData name="Aurelien Domont" userId="6da7715ce44349b3" providerId="LiveId" clId="{1A65848B-9F1B-4AD0-AD98-692A2614DF16}" dt="2023-05-05T06:33:57.224" v="2588" actId="478"/>
          <ac:spMkLst>
            <pc:docMk/>
            <pc:sldMk cId="4166839729" sldId="2219"/>
            <ac:spMk id="38" creationId="{CAC6D54B-ACC0-0E78-D680-9B36CB6BB7E8}"/>
          </ac:spMkLst>
        </pc:spChg>
        <pc:spChg chg="add del mod">
          <ac:chgData name="Aurelien Domont" userId="6da7715ce44349b3" providerId="LiveId" clId="{1A65848B-9F1B-4AD0-AD98-692A2614DF16}" dt="2023-05-05T06:33:57.224" v="2588" actId="478"/>
          <ac:spMkLst>
            <pc:docMk/>
            <pc:sldMk cId="4166839729" sldId="2219"/>
            <ac:spMk id="39" creationId="{B4B290FC-0E6C-5B93-0B84-96A2B322D461}"/>
          </ac:spMkLst>
        </pc:spChg>
        <pc:spChg chg="add del mod">
          <ac:chgData name="Aurelien Domont" userId="6da7715ce44349b3" providerId="LiveId" clId="{1A65848B-9F1B-4AD0-AD98-692A2614DF16}" dt="2023-05-05T06:33:57.224" v="2588" actId="478"/>
          <ac:spMkLst>
            <pc:docMk/>
            <pc:sldMk cId="4166839729" sldId="2219"/>
            <ac:spMk id="40" creationId="{E0C32B66-6C50-6BF5-72A8-05A0686B5658}"/>
          </ac:spMkLst>
        </pc:spChg>
        <pc:spChg chg="add del mod">
          <ac:chgData name="Aurelien Domont" userId="6da7715ce44349b3" providerId="LiveId" clId="{1A65848B-9F1B-4AD0-AD98-692A2614DF16}" dt="2023-05-05T06:33:57.224" v="2588" actId="478"/>
          <ac:spMkLst>
            <pc:docMk/>
            <pc:sldMk cId="4166839729" sldId="2219"/>
            <ac:spMk id="41" creationId="{53118418-5520-2176-2223-5D8B465FC360}"/>
          </ac:spMkLst>
        </pc:spChg>
        <pc:spChg chg="add del mod">
          <ac:chgData name="Aurelien Domont" userId="6da7715ce44349b3" providerId="LiveId" clId="{1A65848B-9F1B-4AD0-AD98-692A2614DF16}" dt="2023-05-05T06:33:57.224" v="2588" actId="478"/>
          <ac:spMkLst>
            <pc:docMk/>
            <pc:sldMk cId="4166839729" sldId="2219"/>
            <ac:spMk id="42" creationId="{C3CAC8C2-AF62-4BF2-BB18-96B03898B5F9}"/>
          </ac:spMkLst>
        </pc:spChg>
        <pc:spChg chg="add del mod">
          <ac:chgData name="Aurelien Domont" userId="6da7715ce44349b3" providerId="LiveId" clId="{1A65848B-9F1B-4AD0-AD98-692A2614DF16}" dt="2023-05-05T06:34:05.433" v="2590" actId="478"/>
          <ac:spMkLst>
            <pc:docMk/>
            <pc:sldMk cId="4166839729" sldId="2219"/>
            <ac:spMk id="43" creationId="{0EADFA4D-EDFC-7C72-7580-F4CAE5C80C72}"/>
          </ac:spMkLst>
        </pc:spChg>
        <pc:spChg chg="add mod">
          <ac:chgData name="Aurelien Domont" userId="6da7715ce44349b3" providerId="LiveId" clId="{1A65848B-9F1B-4AD0-AD98-692A2614DF16}" dt="2023-05-08T05:45:03.347" v="3431" actId="20577"/>
          <ac:spMkLst>
            <pc:docMk/>
            <pc:sldMk cId="4166839729" sldId="2219"/>
            <ac:spMk id="44" creationId="{7B9D2962-CC5F-F479-16D9-C3EDEF564F66}"/>
          </ac:spMkLst>
        </pc:spChg>
        <pc:spChg chg="add del mod">
          <ac:chgData name="Aurelien Domont" userId="6da7715ce44349b3" providerId="LiveId" clId="{1A65848B-9F1B-4AD0-AD98-692A2614DF16}" dt="2023-05-05T06:25:34.188" v="2382" actId="478"/>
          <ac:spMkLst>
            <pc:docMk/>
            <pc:sldMk cId="4166839729" sldId="2219"/>
            <ac:spMk id="45" creationId="{C6EC1F9D-B8FE-A505-D74A-4A830E9BFFF7}"/>
          </ac:spMkLst>
        </pc:spChg>
        <pc:spChg chg="add del mod">
          <ac:chgData name="Aurelien Domont" userId="6da7715ce44349b3" providerId="LiveId" clId="{1A65848B-9F1B-4AD0-AD98-692A2614DF16}" dt="2023-05-05T06:26:43.775" v="2391" actId="478"/>
          <ac:spMkLst>
            <pc:docMk/>
            <pc:sldMk cId="4166839729" sldId="2219"/>
            <ac:spMk id="46" creationId="{97B937FB-3B55-0338-0193-8DE10E16FBE6}"/>
          </ac:spMkLst>
        </pc:spChg>
        <pc:spChg chg="add del mod ord">
          <ac:chgData name="Aurelien Domont" userId="6da7715ce44349b3" providerId="LiveId" clId="{1A65848B-9F1B-4AD0-AD98-692A2614DF16}" dt="2023-05-05T06:33:25.481" v="2576" actId="478"/>
          <ac:spMkLst>
            <pc:docMk/>
            <pc:sldMk cId="4166839729" sldId="2219"/>
            <ac:spMk id="47" creationId="{03759636-0F3B-8737-AEF7-1C4E5C8078D8}"/>
          </ac:spMkLst>
        </pc:spChg>
        <pc:spChg chg="add del mod ord">
          <ac:chgData name="Aurelien Domont" userId="6da7715ce44349b3" providerId="LiveId" clId="{1A65848B-9F1B-4AD0-AD98-692A2614DF16}" dt="2023-05-05T06:31:57.343" v="2569" actId="478"/>
          <ac:spMkLst>
            <pc:docMk/>
            <pc:sldMk cId="4166839729" sldId="2219"/>
            <ac:spMk id="48" creationId="{5E3F7FE7-FAB7-8C5D-313D-E0D07928D3B2}"/>
          </ac:spMkLst>
        </pc:spChg>
        <pc:spChg chg="add del mod ord">
          <ac:chgData name="Aurelien Domont" userId="6da7715ce44349b3" providerId="LiveId" clId="{1A65848B-9F1B-4AD0-AD98-692A2614DF16}" dt="2023-05-05T06:31:58.461" v="2570" actId="478"/>
          <ac:spMkLst>
            <pc:docMk/>
            <pc:sldMk cId="4166839729" sldId="2219"/>
            <ac:spMk id="49" creationId="{A7853CAB-3054-83A8-6142-29638BCEBA5D}"/>
          </ac:spMkLst>
        </pc:spChg>
        <pc:spChg chg="add del mod ord">
          <ac:chgData name="Aurelien Domont" userId="6da7715ce44349b3" providerId="LiveId" clId="{1A65848B-9F1B-4AD0-AD98-692A2614DF16}" dt="2023-05-05T06:31:59.549" v="2571" actId="478"/>
          <ac:spMkLst>
            <pc:docMk/>
            <pc:sldMk cId="4166839729" sldId="2219"/>
            <ac:spMk id="50" creationId="{9013EE3D-67FA-D155-A479-4D92DB833C65}"/>
          </ac:spMkLst>
        </pc:spChg>
        <pc:spChg chg="add del mod ord">
          <ac:chgData name="Aurelien Domont" userId="6da7715ce44349b3" providerId="LiveId" clId="{1A65848B-9F1B-4AD0-AD98-692A2614DF16}" dt="2023-05-05T06:32:00.492" v="2572" actId="478"/>
          <ac:spMkLst>
            <pc:docMk/>
            <pc:sldMk cId="4166839729" sldId="2219"/>
            <ac:spMk id="51" creationId="{5217ED60-4006-38DE-91AE-EB16EA3BD43D}"/>
          </ac:spMkLst>
        </pc:spChg>
        <pc:spChg chg="add mod">
          <ac:chgData name="Aurelien Domont" userId="6da7715ce44349b3" providerId="LiveId" clId="{1A65848B-9F1B-4AD0-AD98-692A2614DF16}" dt="2023-05-05T06:39:49.374" v="2753" actId="255"/>
          <ac:spMkLst>
            <pc:docMk/>
            <pc:sldMk cId="4166839729" sldId="2219"/>
            <ac:spMk id="52" creationId="{AAF0D362-5670-0C0B-B0CF-AE083D24AEF7}"/>
          </ac:spMkLst>
        </pc:spChg>
        <pc:spChg chg="add mod">
          <ac:chgData name="Aurelien Domont" userId="6da7715ce44349b3" providerId="LiveId" clId="{1A65848B-9F1B-4AD0-AD98-692A2614DF16}" dt="2023-05-08T05:45:02.308" v="3428" actId="14100"/>
          <ac:spMkLst>
            <pc:docMk/>
            <pc:sldMk cId="4166839729" sldId="2219"/>
            <ac:spMk id="53" creationId="{94411B58-067D-EEEF-2D3B-BE967C28DD0D}"/>
          </ac:spMkLst>
        </pc:spChg>
        <pc:spChg chg="add mod">
          <ac:chgData name="Aurelien Domont" userId="6da7715ce44349b3" providerId="LiveId" clId="{1A65848B-9F1B-4AD0-AD98-692A2614DF16}" dt="2023-05-05T06:39:49.374" v="2753" actId="255"/>
          <ac:spMkLst>
            <pc:docMk/>
            <pc:sldMk cId="4166839729" sldId="2219"/>
            <ac:spMk id="54" creationId="{4F8E3D5E-679A-5082-3AB3-1F38E242D2E3}"/>
          </ac:spMkLst>
        </pc:spChg>
        <pc:spChg chg="add mod">
          <ac:chgData name="Aurelien Domont" userId="6da7715ce44349b3" providerId="LiveId" clId="{1A65848B-9F1B-4AD0-AD98-692A2614DF16}" dt="2023-05-05T06:39:49.374" v="2753" actId="255"/>
          <ac:spMkLst>
            <pc:docMk/>
            <pc:sldMk cId="4166839729" sldId="2219"/>
            <ac:spMk id="55" creationId="{4B816A14-C00E-DE04-DB71-4FD723630594}"/>
          </ac:spMkLst>
        </pc:spChg>
        <pc:spChg chg="add del mod">
          <ac:chgData name="Aurelien Domont" userId="6da7715ce44349b3" providerId="LiveId" clId="{1A65848B-9F1B-4AD0-AD98-692A2614DF16}" dt="2023-05-05T06:40:54.748" v="2767" actId="478"/>
          <ac:spMkLst>
            <pc:docMk/>
            <pc:sldMk cId="4166839729" sldId="2219"/>
            <ac:spMk id="56" creationId="{8266794C-882A-DC36-7046-C6A473D120E3}"/>
          </ac:spMkLst>
        </pc:spChg>
        <pc:picChg chg="del">
          <ac:chgData name="Aurelien Domont" userId="6da7715ce44349b3" providerId="LiveId" clId="{1A65848B-9F1B-4AD0-AD98-692A2614DF16}" dt="2023-05-05T06:12:06.884" v="1887" actId="478"/>
          <ac:picMkLst>
            <pc:docMk/>
            <pc:sldMk cId="4166839729" sldId="2219"/>
            <ac:picMk id="4" creationId="{069E7982-A4BC-4467-4480-EA22A2B7B45C}"/>
          </ac:picMkLst>
        </pc:picChg>
      </pc:sldChg>
      <pc:sldChg chg="delSp modSp add del mod">
        <pc:chgData name="Aurelien Domont" userId="6da7715ce44349b3" providerId="LiveId" clId="{1A65848B-9F1B-4AD0-AD98-692A2614DF16}" dt="2023-05-05T06:38:35.887" v="2738" actId="47"/>
        <pc:sldMkLst>
          <pc:docMk/>
          <pc:sldMk cId="1054930096" sldId="2220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054930096" sldId="2220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054930096" sldId="2220"/>
            <ac:spMk id="16" creationId="{6C2BB713-9637-4B9B-938F-E9768876782A}"/>
          </ac:spMkLst>
        </pc:spChg>
        <pc:spChg chg="del">
          <ac:chgData name="Aurelien Domont" userId="6da7715ce44349b3" providerId="LiveId" clId="{1A65848B-9F1B-4AD0-AD98-692A2614DF16}" dt="2023-05-05T06:32:10.715" v="2573" actId="478"/>
          <ac:spMkLst>
            <pc:docMk/>
            <pc:sldMk cId="1054930096" sldId="2220"/>
            <ac:spMk id="49" creationId="{A7853CAB-3054-83A8-6142-29638BCEBA5D}"/>
          </ac:spMkLst>
        </pc:spChg>
        <pc:spChg chg="del">
          <ac:chgData name="Aurelien Domont" userId="6da7715ce44349b3" providerId="LiveId" clId="{1A65848B-9F1B-4AD0-AD98-692A2614DF16}" dt="2023-05-05T06:32:10.715" v="2573" actId="478"/>
          <ac:spMkLst>
            <pc:docMk/>
            <pc:sldMk cId="1054930096" sldId="2220"/>
            <ac:spMk id="50" creationId="{9013EE3D-67FA-D155-A479-4D92DB833C65}"/>
          </ac:spMkLst>
        </pc:spChg>
        <pc:spChg chg="del">
          <ac:chgData name="Aurelien Domont" userId="6da7715ce44349b3" providerId="LiveId" clId="{1A65848B-9F1B-4AD0-AD98-692A2614DF16}" dt="2023-05-05T06:32:10.715" v="2573" actId="478"/>
          <ac:spMkLst>
            <pc:docMk/>
            <pc:sldMk cId="1054930096" sldId="2220"/>
            <ac:spMk id="51" creationId="{5217ED60-4006-38DE-91AE-EB16EA3BD43D}"/>
          </ac:spMkLst>
        </pc:spChg>
      </pc:sldChg>
      <pc:sldChg chg="addSp delSp modSp add mod">
        <pc:chgData name="Aurelien Domont" userId="6da7715ce44349b3" providerId="LiveId" clId="{1A65848B-9F1B-4AD0-AD98-692A2614DF16}" dt="2023-05-05T06:50:43.247" v="3208" actId="20577"/>
        <pc:sldMkLst>
          <pc:docMk/>
          <pc:sldMk cId="2097558937" sldId="2220"/>
        </pc:sldMkLst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" creationId="{588BBF57-C661-F8B4-94A8-EE94E69ACB08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" creationId="{EFEE5AC1-2771-6A3B-FB6D-C6188797417A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5" creationId="{715C938B-09B2-FA4E-4348-15BA21831143}"/>
          </ac:spMkLst>
        </pc:spChg>
        <pc:spChg chg="del">
          <ac:chgData name="Aurelien Domont" userId="6da7715ce44349b3" providerId="LiveId" clId="{1A65848B-9F1B-4AD0-AD98-692A2614DF16}" dt="2023-05-05T06:41:45.311" v="2773" actId="478"/>
          <ac:spMkLst>
            <pc:docMk/>
            <pc:sldMk cId="2097558937" sldId="2220"/>
            <ac:spMk id="6" creationId="{061F3026-0FD7-506E-BDFA-DDE75B3643B5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7" creationId="{D9A37C25-8D50-CCC7-5017-8699A9A85F60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8" creationId="{46C49D77-23CE-186E-8549-25C2615DE07A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9" creationId="{5570BD1A-4992-BF23-4DB2-DECF83CBA167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0" creationId="{DA09983E-DAB6-D790-81AE-261956D08694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1" creationId="{AB247AC3-2E7A-4CA1-2780-871AC7D977F8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12" creationId="{687EAFF8-A5AD-7B18-1BA3-90E36E5007BA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4" creationId="{7ABBC8D6-4349-F465-7209-812581166E17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5" creationId="{9A60A24A-A998-D579-E46C-4397D5A9C432}"/>
          </ac:spMkLst>
        </pc:spChg>
        <pc:spChg chg="mod">
          <ac:chgData name="Aurelien Domont" userId="6da7715ce44349b3" providerId="LiveId" clId="{1A65848B-9F1B-4AD0-AD98-692A2614DF16}" dt="2023-05-05T06:50:43.247" v="3208" actId="20577"/>
          <ac:spMkLst>
            <pc:docMk/>
            <pc:sldMk cId="2097558937" sldId="2220"/>
            <ac:spMk id="16" creationId="{6C2BB713-9637-4B9B-938F-E9768876782A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7" creationId="{5EAB1704-779F-6DE5-D2AE-CA24B931ED03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8" creationId="{F758C308-CEEB-89CE-E70C-79B169510408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9" creationId="{CAF5BB3A-3EE3-68C2-B5B6-B05A5209A5FA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0" creationId="{39CC87E1-497D-4441-01EB-D96778F2F7FC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1" creationId="{81D3975C-87E4-A097-D3A8-75B5A3CCFEB4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2" creationId="{FBDAB95D-D9C8-1FC6-5FE5-27B96B648707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23" creationId="{C6353779-E9D7-89C6-956A-F7FB4DD80076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4" creationId="{134E92A3-486E-B8E4-8489-35EACFE9F816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5" creationId="{51EDFBDB-BF6C-46C1-EFE2-392457788EC6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6" creationId="{80CB46DB-4CBD-5E88-C2BF-A11E66AD15D5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7" creationId="{604C42E7-05A9-FC0D-F24F-4089A87C1AEC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8" creationId="{93B9BFF3-78F2-0A8B-6392-4A507F46B38A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9" creationId="{A9493EA5-4BA4-FE2B-E838-D3847D0BCDC7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0" creationId="{2A968D9D-62A5-E4B8-764D-BA38BE40D7C1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1" creationId="{9411A4BB-C042-22FA-9858-EE07FCA3B3E4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2" creationId="{1B1B026E-F2EC-0FFA-7B4E-6F107333EA1C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3" creationId="{C4E74528-6A66-4F07-AD8D-A318C8B255F3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34" creationId="{A0CC5CCF-1F63-EBD7-C6A7-13DF617B15C2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35" creationId="{757458C6-45B9-89E5-0122-3249D0964E4D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36" creationId="{A810A1F2-BCDF-14FF-EB18-E75D5F5FC587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37" creationId="{C13E7937-6AFB-C061-B8FC-CFEE8B9AF782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8" creationId="{3D7C7708-F071-5165-E846-838BCE935AA1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9" creationId="{5043454F-84E3-EA6D-12E0-BB1F98719407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0" creationId="{D9BC8909-AE45-1B4F-4588-434E069602D4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1" creationId="{9DC41D2A-36C2-B26C-5D56-D99DD3EB85E3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2" creationId="{E02F7802-4E9E-6EE1-184A-7828C1935EEF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3" creationId="{605E3139-FA0C-7BF6-895B-8E3B1A6EFF1D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44" creationId="{7B9D2962-CC5F-F479-16D9-C3EDEF564F66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5" creationId="{1B27EE5E-4A55-EE7A-8271-8AB2DF17E685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6" creationId="{FE74E7AC-81A8-AA43-7F3E-3016AB84E21A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7" creationId="{7AAE7B3A-A3DF-6EB9-EAC8-3600D4A1F6BA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8" creationId="{B8FE38BA-834E-497A-04F5-00343758C785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9" creationId="{7C6B7A89-6252-C033-99C1-1F08A6D36EE9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50" creationId="{4CCF0568-48C0-2BF3-459B-D04BEA40471D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51" creationId="{091B2A5D-DF5C-D761-89CC-AC32EE3ED451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52" creationId="{AAF0D362-5670-0C0B-B0CF-AE083D24AEF7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53" creationId="{94411B58-067D-EEEF-2D3B-BE967C28DD0D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54" creationId="{4F8E3D5E-679A-5082-3AB3-1F38E242D2E3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55" creationId="{4B816A14-C00E-DE04-DB71-4FD723630594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56" creationId="{268DF512-C4B2-0966-6EE7-4E5802C76957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57" creationId="{7D0B6837-CE8E-EC2D-109C-4D51C06F5A16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58" creationId="{5301656E-35CE-A14C-6DA0-161160B79EE6}"/>
          </ac:spMkLst>
        </pc:spChg>
        <pc:cxnChg chg="add mod">
          <ac:chgData name="Aurelien Domont" userId="6da7715ce44349b3" providerId="LiveId" clId="{1A65848B-9F1B-4AD0-AD98-692A2614DF16}" dt="2023-05-05T06:43:17.974" v="2878"/>
          <ac:cxnSpMkLst>
            <pc:docMk/>
            <pc:sldMk cId="2097558937" sldId="2220"/>
            <ac:cxnSpMk id="59" creationId="{BCA503A8-23C2-A85B-BAF6-F8B10DC20CBD}"/>
          </ac:cxnSpMkLst>
        </pc:cxnChg>
        <pc:cxnChg chg="add mod">
          <ac:chgData name="Aurelien Domont" userId="6da7715ce44349b3" providerId="LiveId" clId="{1A65848B-9F1B-4AD0-AD98-692A2614DF16}" dt="2023-05-05T06:43:17.974" v="2878"/>
          <ac:cxnSpMkLst>
            <pc:docMk/>
            <pc:sldMk cId="2097558937" sldId="2220"/>
            <ac:cxnSpMk id="60" creationId="{3EFC021B-674A-10CF-E5C3-6BDD80224A46}"/>
          </ac:cxnSpMkLst>
        </pc:cxnChg>
        <pc:cxnChg chg="add mod">
          <ac:chgData name="Aurelien Domont" userId="6da7715ce44349b3" providerId="LiveId" clId="{1A65848B-9F1B-4AD0-AD98-692A2614DF16}" dt="2023-05-05T06:43:17.974" v="2878"/>
          <ac:cxnSpMkLst>
            <pc:docMk/>
            <pc:sldMk cId="2097558937" sldId="2220"/>
            <ac:cxnSpMk id="61" creationId="{D4A301AA-9863-A479-C783-F5339B4B31E1}"/>
          </ac:cxnSpMkLst>
        </pc:cxnChg>
      </pc:sldChg>
      <pc:sldChg chg="add del">
        <pc:chgData name="Aurelien Domont" userId="6da7715ce44349b3" providerId="LiveId" clId="{1A65848B-9F1B-4AD0-AD98-692A2614DF16}" dt="2023-05-05T06:28:14.146" v="2511" actId="47"/>
        <pc:sldMkLst>
          <pc:docMk/>
          <pc:sldMk cId="2159695117" sldId="2220"/>
        </pc:sldMkLst>
      </pc:sldChg>
      <pc:sldChg chg="delSp modSp add del mod">
        <pc:chgData name="Aurelien Domont" userId="6da7715ce44349b3" providerId="LiveId" clId="{1A65848B-9F1B-4AD0-AD98-692A2614DF16}" dt="2023-05-05T06:38:35.887" v="2738" actId="47"/>
        <pc:sldMkLst>
          <pc:docMk/>
          <pc:sldMk cId="2787907896" sldId="2221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787907896" sldId="2221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787907896" sldId="2221"/>
            <ac:spMk id="16" creationId="{6C2BB713-9637-4B9B-938F-E9768876782A}"/>
          </ac:spMkLst>
        </pc:spChg>
        <pc:spChg chg="del">
          <ac:chgData name="Aurelien Domont" userId="6da7715ce44349b3" providerId="LiveId" clId="{1A65848B-9F1B-4AD0-AD98-692A2614DF16}" dt="2023-05-05T06:32:18.965" v="2574" actId="478"/>
          <ac:spMkLst>
            <pc:docMk/>
            <pc:sldMk cId="2787907896" sldId="2221"/>
            <ac:spMk id="50" creationId="{9013EE3D-67FA-D155-A479-4D92DB833C65}"/>
          </ac:spMkLst>
        </pc:spChg>
        <pc:spChg chg="del">
          <ac:chgData name="Aurelien Domont" userId="6da7715ce44349b3" providerId="LiveId" clId="{1A65848B-9F1B-4AD0-AD98-692A2614DF16}" dt="2023-05-05T06:32:18.965" v="2574" actId="478"/>
          <ac:spMkLst>
            <pc:docMk/>
            <pc:sldMk cId="2787907896" sldId="2221"/>
            <ac:spMk id="51" creationId="{5217ED60-4006-38DE-91AE-EB16EA3BD43D}"/>
          </ac:spMkLst>
        </pc:spChg>
      </pc:sldChg>
      <pc:sldChg chg="addSp delSp modSp add del mod">
        <pc:chgData name="Aurelien Domont" userId="6da7715ce44349b3" providerId="LiveId" clId="{1A65848B-9F1B-4AD0-AD98-692A2614DF16}" dt="2023-05-05T06:50:01.295" v="3204" actId="47"/>
        <pc:sldMkLst>
          <pc:docMk/>
          <pc:sldMk cId="3074916498" sldId="2221"/>
        </pc:sldMkLst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" creationId="{588BBF57-C661-F8B4-94A8-EE94E69ACB08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" creationId="{EFEE5AC1-2771-6A3B-FB6D-C6188797417A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5" creationId="{38CD9377-602D-D303-7B42-BFBAB2AC2057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" creationId="{C2B5A273-5E1D-FDD1-5E83-622B00CDC330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7" creationId="{D9A37C25-8D50-CCC7-5017-8699A9A85F60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8" creationId="{46C49D77-23CE-186E-8549-25C2615DE07A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9" creationId="{4E1D7A5D-0ECA-2CC3-62BF-744C1CEA026F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0" creationId="{F8A94089-8461-6CFF-DAB4-A14903EF814E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1" creationId="{B464C18D-3FDD-3D91-03C7-FF43E692CD49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12" creationId="{687EAFF8-A5AD-7B18-1BA3-90E36E5007BA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4" creationId="{482DEFB8-A92C-7D9F-2976-FBCF2FF831FC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5" creationId="{98B8586C-F539-5EDC-B5B8-AF473D1AE90B}"/>
          </ac:spMkLst>
        </pc:spChg>
        <pc:spChg chg="mod">
          <ac:chgData name="Aurelien Domont" userId="6da7715ce44349b3" providerId="LiveId" clId="{1A65848B-9F1B-4AD0-AD98-692A2614DF16}" dt="2023-05-05T06:44:23.145" v="2926" actId="20577"/>
          <ac:spMkLst>
            <pc:docMk/>
            <pc:sldMk cId="3074916498" sldId="2221"/>
            <ac:spMk id="16" creationId="{6C2BB713-9637-4B9B-938F-E9768876782A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7" creationId="{B885463E-1FBB-1F86-75B3-14868AC81DF1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8" creationId="{75EDA080-031D-FB74-E337-B1D37B0A2E0E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9" creationId="{06F6C47B-8B10-4F17-F7A9-0BF5D12C31E7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0" creationId="{39CC87E1-497D-4441-01EB-D96778F2F7FC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1" creationId="{81D3975C-87E4-A097-D3A8-75B5A3CCFEB4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2" creationId="{FBDAB95D-D9C8-1FC6-5FE5-27B96B648707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23" creationId="{898B4881-848E-751C-FF14-5D72F8869F68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4" creationId="{134E92A3-486E-B8E4-8489-35EACFE9F816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5" creationId="{51EDFBDB-BF6C-46C1-EFE2-392457788EC6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6" creationId="{80CB46DB-4CBD-5E88-C2BF-A11E66AD15D5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7" creationId="{604C42E7-05A9-FC0D-F24F-4089A87C1AEC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8" creationId="{93B9BFF3-78F2-0A8B-6392-4A507F46B38A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9" creationId="{A9493EA5-4BA4-FE2B-E838-D3847D0BCDC7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0" creationId="{2A968D9D-62A5-E4B8-764D-BA38BE40D7C1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1" creationId="{9411A4BB-C042-22FA-9858-EE07FCA3B3E4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2" creationId="{1B1B026E-F2EC-0FFA-7B4E-6F107333EA1C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3" creationId="{C4E74528-6A66-4F07-AD8D-A318C8B255F3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34" creationId="{D78C8D8E-8BF0-310F-58B6-395F5F09017A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35" creationId="{D450EA42-D400-AC6B-04D9-3885853E3806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36" creationId="{B620C6BF-B7B5-EDF6-7F2B-95751AE6545D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37" creationId="{0306DB1E-CECF-03F6-D197-8A66DAB48FFE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8" creationId="{3D7C7708-F071-5165-E846-838BCE935AA1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9" creationId="{5043454F-84E3-EA6D-12E0-BB1F98719407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0" creationId="{D9BC8909-AE45-1B4F-4588-434E069602D4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1" creationId="{9DC41D2A-36C2-B26C-5D56-D99DD3EB85E3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2" creationId="{E02F7802-4E9E-6EE1-184A-7828C1935EEF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3" creationId="{605E3139-FA0C-7BF6-895B-8E3B1A6EFF1D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44" creationId="{46196751-DB28-BE0F-E5E1-465F9F7D9338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5" creationId="{1B27EE5E-4A55-EE7A-8271-8AB2DF17E685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6" creationId="{FE74E7AC-81A8-AA43-7F3E-3016AB84E21A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7" creationId="{7AAE7B3A-A3DF-6EB9-EAC8-3600D4A1F6BA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8" creationId="{B8FE38BA-834E-497A-04F5-00343758C785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9" creationId="{7C6B7A89-6252-C033-99C1-1F08A6D36EE9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50" creationId="{4CCF0568-48C0-2BF3-459B-D04BEA40471D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51" creationId="{091B2A5D-DF5C-D761-89CC-AC32EE3ED451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52" creationId="{9C4A831D-2037-FFEE-88D9-49189B0132FC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53" creationId="{3C9D85E5-A972-4D39-6772-37C95DBF5426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54" creationId="{6C722358-2E5F-6A92-195D-6FC86670EDCF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55" creationId="{2116FF81-9748-0A75-B06A-07BDCA23A728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56" creationId="{268DF512-C4B2-0966-6EE7-4E5802C76957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57" creationId="{7D0B6837-CE8E-EC2D-109C-4D51C06F5A16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58" creationId="{5301656E-35CE-A14C-6DA0-161160B79EE6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2" creationId="{417934B2-C1F3-D02D-1D61-1885BC4F58E7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3" creationId="{6ECB259C-90AB-7741-318F-95389D5E4442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4" creationId="{AE4A47D5-4FF6-7D46-DA09-EDCA0B39CBE8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5" creationId="{2DEF5E3F-117E-9415-E117-8FFCAEC875E6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6" creationId="{F85354D8-3E66-3C9A-A00E-ADDAE252A643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7" creationId="{3483C514-1549-8447-2229-ACC4563737FE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8" creationId="{57302020-787E-458A-DD3A-2408E673AD0D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9" creationId="{8DA70997-D9C6-01DC-578E-85E099FD3701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0" creationId="{D831B484-636E-0C43-027D-F47D640F1861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1" creationId="{DAA95A8A-409B-3934-1E4B-CBEC58D8ADD9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2" creationId="{E12D4E89-FC92-F0C5-3264-A845352136DC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3" creationId="{9F90E3B5-2526-9876-59DB-45F0E4016252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4" creationId="{982D313B-6F89-14F6-510B-020BC98B61D2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5" creationId="{4015FDB5-BCDF-960E-D28E-A652FA3BA812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6" creationId="{AE15CB21-A212-1A34-C51C-A079259A3EA3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7" creationId="{BF171AEE-11D0-86E9-CB4E-8D0605CA98BD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8" creationId="{0FF719BF-0744-220C-36A5-04A91AF89816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9" creationId="{ADD98C78-CE57-9EC1-B43C-C0C2B7579BF3}"/>
          </ac:spMkLst>
        </pc:spChg>
        <pc:cxnChg chg="del mod">
          <ac:chgData name="Aurelien Domont" userId="6da7715ce44349b3" providerId="LiveId" clId="{1A65848B-9F1B-4AD0-AD98-692A2614DF16}" dt="2023-05-05T06:43:27.152" v="2880" actId="478"/>
          <ac:cxnSpMkLst>
            <pc:docMk/>
            <pc:sldMk cId="3074916498" sldId="2221"/>
            <ac:cxnSpMk id="59" creationId="{BCA503A8-23C2-A85B-BAF6-F8B10DC20CBD}"/>
          </ac:cxnSpMkLst>
        </pc:cxnChg>
        <pc:cxnChg chg="del mod">
          <ac:chgData name="Aurelien Domont" userId="6da7715ce44349b3" providerId="LiveId" clId="{1A65848B-9F1B-4AD0-AD98-692A2614DF16}" dt="2023-05-05T06:43:27.152" v="2880" actId="478"/>
          <ac:cxnSpMkLst>
            <pc:docMk/>
            <pc:sldMk cId="3074916498" sldId="2221"/>
            <ac:cxnSpMk id="60" creationId="{3EFC021B-674A-10CF-E5C3-6BDD80224A46}"/>
          </ac:cxnSpMkLst>
        </pc:cxnChg>
        <pc:cxnChg chg="del mod">
          <ac:chgData name="Aurelien Domont" userId="6da7715ce44349b3" providerId="LiveId" clId="{1A65848B-9F1B-4AD0-AD98-692A2614DF16}" dt="2023-05-05T06:43:27.152" v="2880" actId="478"/>
          <ac:cxnSpMkLst>
            <pc:docMk/>
            <pc:sldMk cId="3074916498" sldId="2221"/>
            <ac:cxnSpMk id="61" creationId="{D4A301AA-9863-A479-C783-F5339B4B31E1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0" creationId="{BA603012-CF80-D372-E0FC-A0AA49E51E88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1" creationId="{C685F20F-98A1-1CC1-0170-33A80C69023E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2" creationId="{189F1FEB-6851-5266-296D-BE5481218969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3" creationId="{3BAEA123-E1E2-895F-22C8-033998175F97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4" creationId="{15361AC8-4F5A-78C3-A836-6B79F0E9121B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5" creationId="{567219B6-CE9C-FF62-74C0-B26CFBC7183E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6" creationId="{D9B80617-5C35-58F8-2949-F91C2CAD4D2F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7" creationId="{D1D06959-5F45-D572-92ED-98D473602005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8" creationId="{5143F5CA-C300-C54F-41AF-73E7437BF60B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9" creationId="{2B960C61-11E4-9AC8-72BC-211DD9EC618E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90" creationId="{58DC4D14-A1DF-88E3-F18E-40AA499A2853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91" creationId="{9F8324AB-7B02-E0AD-FBF5-C756C11C0F63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92" creationId="{6D1DA567-62FF-E78A-8BAA-1E8E2A696B34}"/>
          </ac:cxnSpMkLst>
        </pc:cxnChg>
      </pc:sldChg>
      <pc:sldChg chg="modSp add del">
        <pc:chgData name="Aurelien Domont" userId="6da7715ce44349b3" providerId="LiveId" clId="{1A65848B-9F1B-4AD0-AD98-692A2614DF16}" dt="2023-05-05T06:38:35.887" v="2738" actId="47"/>
        <pc:sldMkLst>
          <pc:docMk/>
          <pc:sldMk cId="624237666" sldId="2222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624237666" sldId="2222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624237666" sldId="2222"/>
            <ac:spMk id="16" creationId="{6C2BB713-9637-4B9B-938F-E9768876782A}"/>
          </ac:spMkLst>
        </pc:spChg>
      </pc:sldChg>
      <pc:sldChg chg="addSp delSp modSp add mod">
        <pc:chgData name="Aurelien Domont" userId="6da7715ce44349b3" providerId="LiveId" clId="{1A65848B-9F1B-4AD0-AD98-692A2614DF16}" dt="2023-06-07T00:54:51.638" v="3487" actId="20577"/>
        <pc:sldMkLst>
          <pc:docMk/>
          <pc:sldMk cId="3590846903" sldId="2222"/>
        </pc:sldMkLst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" creationId="{705B2F9A-0CC2-1A04-1591-4F92650DE1A0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4" creationId="{2E7C2C16-1102-BA08-6745-C9C487E0AEB8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5" creationId="{715C938B-09B2-FA4E-4348-15BA21831143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7" creationId="{2F028624-04FF-2798-6ADD-D9AFFEFBE30B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8" creationId="{95EF6B71-21E6-5419-C611-4DB18B495031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9" creationId="{5570BD1A-4992-BF23-4DB2-DECF83CBA167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0" creationId="{DA09983E-DAB6-D790-81AE-261956D08694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1" creationId="{AB247AC3-2E7A-4CA1-2780-871AC7D977F8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12" creationId="{5926FB24-916A-61D5-7972-C21158723603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4" creationId="{7ABBC8D6-4349-F465-7209-812581166E17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5" creationId="{9A60A24A-A998-D579-E46C-4397D5A9C432}"/>
          </ac:spMkLst>
        </pc:spChg>
        <pc:spChg chg="mod">
          <ac:chgData name="Aurelien Domont" userId="6da7715ce44349b3" providerId="LiveId" clId="{1A65848B-9F1B-4AD0-AD98-692A2614DF16}" dt="2023-06-07T00:54:51.638" v="3487" actId="20577"/>
          <ac:spMkLst>
            <pc:docMk/>
            <pc:sldMk cId="3590846903" sldId="2222"/>
            <ac:spMk id="16" creationId="{6C2BB713-9637-4B9B-938F-E9768876782A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7" creationId="{5EAB1704-779F-6DE5-D2AE-CA24B931ED03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8" creationId="{F758C308-CEEB-89CE-E70C-79B169510408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9" creationId="{CAF5BB3A-3EE3-68C2-B5B6-B05A5209A5FA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0" creationId="{436542ED-3F4B-EC77-E65A-3654FDC48E53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1" creationId="{BFEAFA23-5EAF-47C3-7688-E0E3CC3B687F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2" creationId="{103F9119-9F2C-3E59-41E8-F457FB6793B8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23" creationId="{C6353779-E9D7-89C6-956A-F7FB4DD80076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4" creationId="{D7D73E7F-38EB-63A1-21DA-D71C855D4016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5" creationId="{8E732382-E895-AF45-9301-FBCC01346988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6" creationId="{2E627E2C-FDE6-6DD6-A825-024CBA546D85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7" creationId="{CE4ECC72-491D-2B62-5A19-F0D6148DA471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8" creationId="{8A1A5489-DA48-AA30-61B8-5735B169DF50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9" creationId="{039CC9D2-D7F7-F846-5186-64F7A45D1CA1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30" creationId="{6E92B125-A568-4791-62C6-86011FB060E8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31" creationId="{AE7FD9F9-FC73-EFCD-6ECF-9778360D65DA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32" creationId="{2E0AE52A-745E-C2BB-F9DD-66E83CC519BF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34" creationId="{A0CC5CCF-1F63-EBD7-C6A7-13DF617B15C2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35" creationId="{757458C6-45B9-89E5-0122-3249D0964E4D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36" creationId="{A810A1F2-BCDF-14FF-EB18-E75D5F5FC587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37" creationId="{C13E7937-6AFB-C061-B8FC-CFEE8B9AF782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44" creationId="{7B9D2962-CC5F-F479-16D9-C3EDEF564F66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52" creationId="{AAF0D362-5670-0C0B-B0CF-AE083D24AEF7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53" creationId="{94411B58-067D-EEEF-2D3B-BE967C28DD0D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54" creationId="{4F8E3D5E-679A-5082-3AB3-1F38E242D2E3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55" creationId="{4B816A14-C00E-DE04-DB71-4FD723630594}"/>
          </ac:spMkLst>
        </pc:spChg>
        <pc:cxnChg chg="add mod">
          <ac:chgData name="Aurelien Domont" userId="6da7715ce44349b3" providerId="LiveId" clId="{1A65848B-9F1B-4AD0-AD98-692A2614DF16}" dt="2023-05-05T06:46:30.502" v="2993"/>
          <ac:cxnSpMkLst>
            <pc:docMk/>
            <pc:sldMk cId="3590846903" sldId="2222"/>
            <ac:cxnSpMk id="6" creationId="{74973BDE-9E24-3983-7AF3-F37B11C29C7C}"/>
          </ac:cxnSpMkLst>
        </pc:cxnChg>
      </pc:sldChg>
      <pc:sldChg chg="addSp delSp modSp add mod">
        <pc:chgData name="Aurelien Domont" userId="6da7715ce44349b3" providerId="LiveId" clId="{1A65848B-9F1B-4AD0-AD98-692A2614DF16}" dt="2023-05-05T06:53:28.671" v="3325" actId="20577"/>
        <pc:sldMkLst>
          <pc:docMk/>
          <pc:sldMk cId="1039551658" sldId="2223"/>
        </pc:sldMkLst>
        <pc:spChg chg="del">
          <ac:chgData name="Aurelien Domont" userId="6da7715ce44349b3" providerId="LiveId" clId="{1A65848B-9F1B-4AD0-AD98-692A2614DF16}" dt="2023-05-05T06:49:33.083" v="3174" actId="478"/>
          <ac:spMkLst>
            <pc:docMk/>
            <pc:sldMk cId="1039551658" sldId="2223"/>
            <ac:spMk id="2" creationId="{588BBF57-C661-F8B4-94A8-EE94E69ACB08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" creationId="{EFEE5AC1-2771-6A3B-FB6D-C6188797417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5" creationId="{2AA26C21-C361-3EB9-4573-372E5AEA18FB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" creationId="{5D2A63B4-FC51-BC9D-B57A-5049FDC48FA2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7" creationId="{D9A37C25-8D50-CCC7-5017-8699A9A85F60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8" creationId="{46C49D77-23CE-186E-8549-25C2615DE07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9" creationId="{B34B57AB-020B-D071-0F60-C039A7B8885C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0" creationId="{C08800EE-6E5B-3CC5-154D-85E56F160A14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1" creationId="{4DC4564C-2584-B4F2-084E-0BB64BDC39F3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12" creationId="{687EAFF8-A5AD-7B18-1BA3-90E36E5007B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4" creationId="{39F3838F-1C78-135E-3DA9-EEE12498C464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5" creationId="{8B5F8284-E99E-6196-D66E-6E244CD9EC78}"/>
          </ac:spMkLst>
        </pc:spChg>
        <pc:spChg chg="mod">
          <ac:chgData name="Aurelien Domont" userId="6da7715ce44349b3" providerId="LiveId" clId="{1A65848B-9F1B-4AD0-AD98-692A2614DF16}" dt="2023-05-05T06:53:28.671" v="3325" actId="20577"/>
          <ac:spMkLst>
            <pc:docMk/>
            <pc:sldMk cId="1039551658" sldId="2223"/>
            <ac:spMk id="16" creationId="{6C2BB713-9637-4B9B-938F-E9768876782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7" creationId="{83FAF5F3-1FA8-8127-A726-B21D5DDEA974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8" creationId="{56813EA4-AA29-8147-FAD6-4A6CB9122F21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9" creationId="{76374FA8-F233-CAB1-257F-27832EED9E6B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0" creationId="{39CC87E1-497D-4441-01EB-D96778F2F7FC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1" creationId="{81D3975C-87E4-A097-D3A8-75B5A3CCFEB4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2" creationId="{FBDAB95D-D9C8-1FC6-5FE5-27B96B648707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23" creationId="{20E41234-0106-5032-B815-0E0D279CF6DC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4" creationId="{134E92A3-486E-B8E4-8489-35EACFE9F816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5" creationId="{51EDFBDB-BF6C-46C1-EFE2-392457788EC6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6" creationId="{80CB46DB-4CBD-5E88-C2BF-A11E66AD15D5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7" creationId="{604C42E7-05A9-FC0D-F24F-4089A87C1AEC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8" creationId="{93B9BFF3-78F2-0A8B-6392-4A507F46B38A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9" creationId="{A9493EA5-4BA4-FE2B-E838-D3847D0BCDC7}"/>
          </ac:spMkLst>
        </pc:spChg>
        <pc:spChg chg="del">
          <ac:chgData name="Aurelien Domont" userId="6da7715ce44349b3" providerId="LiveId" clId="{1A65848B-9F1B-4AD0-AD98-692A2614DF16}" dt="2023-05-05T06:49:33.083" v="3174" actId="478"/>
          <ac:spMkLst>
            <pc:docMk/>
            <pc:sldMk cId="1039551658" sldId="2223"/>
            <ac:spMk id="30" creationId="{2A968D9D-62A5-E4B8-764D-BA38BE40D7C1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31" creationId="{9411A4BB-C042-22FA-9858-EE07FCA3B3E4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32" creationId="{1B1B026E-F2EC-0FFA-7B4E-6F107333EA1C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33" creationId="{C4E74528-6A66-4F07-AD8D-A318C8B255F3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34" creationId="{57B85430-AD30-D806-40D2-CBA36A7475E8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35" creationId="{EDE60E49-7E11-CF21-957E-C0D84B7D914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36" creationId="{C60DD090-F19E-BFC7-FF1E-441EAE9CBEA9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37" creationId="{BB072660-2A07-9DDB-ADB2-225B5EDC6505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38" creationId="{3D7C7708-F071-5165-E846-838BCE935AA1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39" creationId="{5043454F-84E3-EA6D-12E0-BB1F98719407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0" creationId="{D9BC8909-AE45-1B4F-4588-434E069602D4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1" creationId="{9DC41D2A-36C2-B26C-5D56-D99DD3EB85E3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2" creationId="{E02F7802-4E9E-6EE1-184A-7828C1935EEF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3" creationId="{605E3139-FA0C-7BF6-895B-8E3B1A6EFF1D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44" creationId="{2CF812E2-629D-3974-4245-09E04D79BBE3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5" creationId="{1B27EE5E-4A55-EE7A-8271-8AB2DF17E685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6" creationId="{FE74E7AC-81A8-AA43-7F3E-3016AB84E21A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7" creationId="{7AAE7B3A-A3DF-6EB9-EAC8-3600D4A1F6BA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8" creationId="{B8FE38BA-834E-497A-04F5-00343758C785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9" creationId="{7C6B7A89-6252-C033-99C1-1F08A6D36EE9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50" creationId="{4CCF0568-48C0-2BF3-459B-D04BEA40471D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51" creationId="{091B2A5D-DF5C-D761-89CC-AC32EE3ED451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52" creationId="{281D2D43-4CA3-7DEE-7153-D410672ACCB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53" creationId="{FD07220C-F6BD-B4A1-D467-F265A424CCCB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54" creationId="{AEB9F30A-55D5-D15C-B811-456DBA7D03D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55" creationId="{A5B43E58-46AF-7A95-7477-5B1ED4F4E47A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56" creationId="{268DF512-C4B2-0966-6EE7-4E5802C76957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57" creationId="{7D0B6837-CE8E-EC2D-109C-4D51C06F5A16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58" creationId="{5301656E-35CE-A14C-6DA0-161160B79EE6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2" creationId="{1787DFEE-57AC-2B50-5212-C815054ABF6C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3" creationId="{AC202774-7C4B-C272-9143-DF1933E02448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4" creationId="{6B9E4013-FBF0-0582-91A5-56DFC1BDE7E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5" creationId="{D8E2A5AD-7B30-B572-9188-C93767F764D8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6" creationId="{49056DA2-5CFF-FF5A-3145-F39FDB73B0C5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7" creationId="{D8CD9860-F309-54EB-AE57-3732BA20D19D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8" creationId="{A19F9936-242E-05AB-E8B4-15CCAED48CC1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9" creationId="{CDD2FEAB-87B3-35FF-54D3-2580BB29D58F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0" creationId="{609E4AD9-2BE3-22A5-ED5E-E5A880AA265C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1" creationId="{9161627A-A367-A725-E398-B1F633ADDFE8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2" creationId="{029AA179-2FF3-2381-E075-AB89452F5316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3" creationId="{BA14489C-09F5-4325-A646-2F3A6B6512A4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4" creationId="{FF3805C6-135A-36F1-E89D-53199C2A3844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5" creationId="{4EB2E1B1-5488-E9F8-B7D4-78FE0075908B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6" creationId="{6D8F1C6E-9E60-3E75-6D36-E02C29D1FF6D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7" creationId="{117FDA45-BE1D-0DBD-C0BF-BA17775E1086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8" creationId="{077AE37D-881A-9F3F-2F48-57F2E7423C28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9" creationId="{BC444D67-87A7-4261-E5F8-CAACCBF078C0}"/>
          </ac:spMkLst>
        </pc:spChg>
        <pc:cxnChg chg="del mod">
          <ac:chgData name="Aurelien Domont" userId="6da7715ce44349b3" providerId="LiveId" clId="{1A65848B-9F1B-4AD0-AD98-692A2614DF16}" dt="2023-05-05T06:49:31.681" v="3173" actId="478"/>
          <ac:cxnSpMkLst>
            <pc:docMk/>
            <pc:sldMk cId="1039551658" sldId="2223"/>
            <ac:cxnSpMk id="59" creationId="{BCA503A8-23C2-A85B-BAF6-F8B10DC20CBD}"/>
          </ac:cxnSpMkLst>
        </pc:cxnChg>
        <pc:cxnChg chg="del mod">
          <ac:chgData name="Aurelien Domont" userId="6da7715ce44349b3" providerId="LiveId" clId="{1A65848B-9F1B-4AD0-AD98-692A2614DF16}" dt="2023-05-05T06:49:31.681" v="3173" actId="478"/>
          <ac:cxnSpMkLst>
            <pc:docMk/>
            <pc:sldMk cId="1039551658" sldId="2223"/>
            <ac:cxnSpMk id="60" creationId="{3EFC021B-674A-10CF-E5C3-6BDD80224A46}"/>
          </ac:cxnSpMkLst>
        </pc:cxnChg>
        <pc:cxnChg chg="del mod">
          <ac:chgData name="Aurelien Domont" userId="6da7715ce44349b3" providerId="LiveId" clId="{1A65848B-9F1B-4AD0-AD98-692A2614DF16}" dt="2023-05-05T06:49:31.681" v="3173" actId="478"/>
          <ac:cxnSpMkLst>
            <pc:docMk/>
            <pc:sldMk cId="1039551658" sldId="2223"/>
            <ac:cxnSpMk id="61" creationId="{D4A301AA-9863-A479-C783-F5339B4B31E1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0" creationId="{4547DD3A-A7D9-53B3-AFEF-B82A8EF7CEBE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1" creationId="{85373B63-AB81-F591-D92A-5E21A7FC527E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2" creationId="{BA8C00A1-618C-819B-F6C0-66EC0D096069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3" creationId="{B60F362E-FDCB-36E2-9BBA-4B4E617E90AE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4" creationId="{DFD459F2-43FC-960A-8CEB-86C07B31C12E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5" creationId="{FA192CBB-8C6B-C67A-F770-9C5CF1879026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6" creationId="{D31924C9-A283-CD4F-AA7C-ACD8E54E16F7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7" creationId="{3AF86B85-5FB3-EEDE-15DA-5E0BD56A7C1E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8" creationId="{C706844B-CD64-3606-3860-C4B7DBD12AD5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9" creationId="{84E6B535-7702-B4A4-58BA-E18D9E2B2600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90" creationId="{D5A5CB3A-3639-7FE1-46AE-B214A5A71AAC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91" creationId="{F3313614-5711-8208-B0D8-7A54D3C36F8B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92" creationId="{57EA1AA0-E25F-DDC7-A4B8-63B0CEE45400}"/>
          </ac:cxnSpMkLst>
        </pc:cxnChg>
      </pc:sldChg>
      <pc:sldChg chg="modSp add del">
        <pc:chgData name="Aurelien Domont" userId="6da7715ce44349b3" providerId="LiveId" clId="{1A65848B-9F1B-4AD0-AD98-692A2614DF16}" dt="2023-05-05T06:38:35.887" v="2738" actId="47"/>
        <pc:sldMkLst>
          <pc:docMk/>
          <pc:sldMk cId="2968221230" sldId="2223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968221230" sldId="2223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968221230" sldId="2223"/>
            <ac:spMk id="16" creationId="{6C2BB713-9637-4B9B-938F-E9768876782A}"/>
          </ac:spMkLst>
        </pc:spChg>
      </pc:sldChg>
      <pc:sldMasterChg chg="addSp modSldLayout">
        <pc:chgData name="Aurelien Domont" userId="6da7715ce44349b3" providerId="LiveId" clId="{1A65848B-9F1B-4AD0-AD98-692A2614DF16}" dt="2023-05-05T06:37:03.994" v="2731"/>
        <pc:sldMasterMkLst>
          <pc:docMk/>
          <pc:sldMasterMk cId="3480026145" sldId="2147483670"/>
        </pc:sldMasterMkLst>
        <pc:spChg chg="add">
          <ac:chgData name="Aurelien Domont" userId="6da7715ce44349b3" providerId="LiveId" clId="{1A65848B-9F1B-4AD0-AD98-692A2614DF16}" dt="2023-05-05T06:37:03.994" v="2731"/>
          <ac:spMkLst>
            <pc:docMk/>
            <pc:sldMasterMk cId="3480026145" sldId="2147483670"/>
            <ac:spMk id="10" creationId="{388F295C-9C57-0356-119D-1F2D6E610CA1}"/>
          </ac:spMkLst>
        </pc:spChg>
        <pc:spChg chg="add">
          <ac:chgData name="Aurelien Domont" userId="6da7715ce44349b3" providerId="LiveId" clId="{1A65848B-9F1B-4AD0-AD98-692A2614DF16}" dt="2023-05-05T06:37:03.994" v="2731"/>
          <ac:spMkLst>
            <pc:docMk/>
            <pc:sldMasterMk cId="3480026145" sldId="2147483670"/>
            <ac:spMk id="11" creationId="{A19245F7-4C1E-B61C-D250-B442AF1B938E}"/>
          </ac:spMkLst>
        </pc:spChg>
        <pc:graphicFrameChg chg="add">
          <ac:chgData name="Aurelien Domont" userId="6da7715ce44349b3" providerId="LiveId" clId="{1A65848B-9F1B-4AD0-AD98-692A2614DF16}" dt="2023-05-05T06:37:03.994" v="2731"/>
          <ac:graphicFrameMkLst>
            <pc:docMk/>
            <pc:sldMasterMk cId="3480026145" sldId="2147483670"/>
            <ac:graphicFrameMk id="4" creationId="{ECDF45FE-35B3-2ACA-750A-280401E6052D}"/>
          </ac:graphicFrameMkLst>
        </pc:graphicFrameChg>
        <pc:cxnChg chg="add">
          <ac:chgData name="Aurelien Domont" userId="6da7715ce44349b3" providerId="LiveId" clId="{1A65848B-9F1B-4AD0-AD98-692A2614DF16}" dt="2023-05-05T06:37:03.994" v="2731"/>
          <ac:cxnSpMkLst>
            <pc:docMk/>
            <pc:sldMasterMk cId="3480026145" sldId="2147483670"/>
            <ac:cxnSpMk id="12" creationId="{F539B315-B1B0-698E-0C25-26A9FA8B84B9}"/>
          </ac:cxnSpMkLst>
        </pc:cxnChg>
        <pc:sldLayoutChg chg="addSp">
          <pc:chgData name="Aurelien Domont" userId="6da7715ce44349b3" providerId="LiveId" clId="{1A65848B-9F1B-4AD0-AD98-692A2614DF16}" dt="2023-05-05T06:37:03.994" v="2731"/>
          <pc:sldLayoutMkLst>
            <pc:docMk/>
            <pc:sldMasterMk cId="3480026145" sldId="2147483670"/>
            <pc:sldLayoutMk cId="2471223300" sldId="2147483671"/>
          </pc:sldLayoutMkLst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2471223300" sldId="2147483671"/>
              <ac:spMk id="9" creationId="{5B19FF83-CA3D-5098-04B9-6A2F53272295}"/>
            </ac:spMkLst>
          </pc:spChg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2471223300" sldId="2147483671"/>
              <ac:spMk id="10" creationId="{CBBE1F21-E6E5-C81C-7588-C9AD16037932}"/>
            </ac:spMkLst>
          </pc:spChg>
          <pc:graphicFrameChg chg="add">
            <ac:chgData name="Aurelien Domont" userId="6da7715ce44349b3" providerId="LiveId" clId="{1A65848B-9F1B-4AD0-AD98-692A2614DF16}" dt="2023-05-05T06:37:03.994" v="2731"/>
            <ac:graphicFrameMkLst>
              <pc:docMk/>
              <pc:sldMasterMk cId="3480026145" sldId="2147483670"/>
              <pc:sldLayoutMk cId="2471223300" sldId="2147483671"/>
              <ac:graphicFrameMk id="8" creationId="{9A523AEE-DF7D-062F-597A-BFF164BD7342}"/>
            </ac:graphicFrameMkLst>
          </pc:graphicFrameChg>
        </pc:sldLayoutChg>
        <pc:sldLayoutChg chg="addSp">
          <pc:chgData name="Aurelien Domont" userId="6da7715ce44349b3" providerId="LiveId" clId="{1A65848B-9F1B-4AD0-AD98-692A2614DF16}" dt="2023-05-05T06:37:03.994" v="2731"/>
          <pc:sldLayoutMkLst>
            <pc:docMk/>
            <pc:sldMasterMk cId="3480026145" sldId="2147483670"/>
            <pc:sldLayoutMk cId="1695806728" sldId="2147483672"/>
          </pc:sldLayoutMkLst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1695806728" sldId="2147483672"/>
              <ac:spMk id="5" creationId="{069BB852-C1B0-25DB-CC13-E743F6521F96}"/>
            </ac:spMkLst>
          </pc:spChg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1695806728" sldId="2147483672"/>
              <ac:spMk id="6" creationId="{D537D888-C9BB-CB2C-2952-84297D8940A8}"/>
            </ac:spMkLst>
          </pc:spChg>
          <pc:graphicFrameChg chg="add">
            <ac:chgData name="Aurelien Domont" userId="6da7715ce44349b3" providerId="LiveId" clId="{1A65848B-9F1B-4AD0-AD98-692A2614DF16}" dt="2023-05-05T06:37:03.994" v="2731"/>
            <ac:graphicFrameMkLst>
              <pc:docMk/>
              <pc:sldMasterMk cId="3480026145" sldId="2147483670"/>
              <pc:sldLayoutMk cId="1695806728" sldId="2147483672"/>
              <ac:graphicFrameMk id="4" creationId="{8F987152-7807-F39F-6B26-5C428B896765}"/>
            </ac:graphicFrameMkLst>
          </pc:graphicFrameChg>
          <pc:cxnChg chg="add">
            <ac:chgData name="Aurelien Domont" userId="6da7715ce44349b3" providerId="LiveId" clId="{1A65848B-9F1B-4AD0-AD98-692A2614DF16}" dt="2023-05-05T06:37:03.994" v="2731"/>
            <ac:cxnSpMkLst>
              <pc:docMk/>
              <pc:sldMasterMk cId="3480026145" sldId="2147483670"/>
              <pc:sldLayoutMk cId="1695806728" sldId="2147483672"/>
              <ac:cxnSpMk id="10" creationId="{F121F1F3-0949-AEEF-3A63-7884BC3CC329}"/>
            </ac:cxnSpMkLst>
          </pc:cxnChg>
        </pc:sldLayoutChg>
        <pc:sldLayoutChg chg="addSp">
          <pc:chgData name="Aurelien Domont" userId="6da7715ce44349b3" providerId="LiveId" clId="{1A65848B-9F1B-4AD0-AD98-692A2614DF16}" dt="2023-05-05T06:37:03.994" v="2731"/>
          <pc:sldLayoutMkLst>
            <pc:docMk/>
            <pc:sldMasterMk cId="3480026145" sldId="2147483670"/>
            <pc:sldLayoutMk cId="164187539" sldId="2147483673"/>
          </pc:sldLayoutMkLst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164187539" sldId="2147483673"/>
              <ac:spMk id="6" creationId="{8B8370F7-B206-CCD4-9976-904AFE4198E6}"/>
            </ac:spMkLst>
          </pc:spChg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164187539" sldId="2147483673"/>
              <ac:spMk id="11" creationId="{E46A756B-F76C-E2A7-2648-F0FCF37B9C3A}"/>
            </ac:spMkLst>
          </pc:spChg>
          <pc:graphicFrameChg chg="add">
            <ac:chgData name="Aurelien Domont" userId="6da7715ce44349b3" providerId="LiveId" clId="{1A65848B-9F1B-4AD0-AD98-692A2614DF16}" dt="2023-05-05T06:37:03.994" v="2731"/>
            <ac:graphicFrameMkLst>
              <pc:docMk/>
              <pc:sldMasterMk cId="3480026145" sldId="2147483670"/>
              <pc:sldLayoutMk cId="164187539" sldId="2147483673"/>
              <ac:graphicFrameMk id="2" creationId="{55266D55-3B8A-9146-2F97-D45DC98FC271}"/>
            </ac:graphicFrameMkLst>
          </pc:graphicFrameChg>
          <pc:cxnChg chg="add">
            <ac:chgData name="Aurelien Domont" userId="6da7715ce44349b3" providerId="LiveId" clId="{1A65848B-9F1B-4AD0-AD98-692A2614DF16}" dt="2023-05-05T06:37:03.994" v="2731"/>
            <ac:cxnSpMkLst>
              <pc:docMk/>
              <pc:sldMasterMk cId="3480026145" sldId="2147483670"/>
              <pc:sldLayoutMk cId="164187539" sldId="2147483673"/>
              <ac:cxnSpMk id="12" creationId="{B3AFA2DB-2407-3067-A3BE-4E7A22D28463}"/>
            </ac:cxnSpMkLst>
          </pc:cxnChg>
        </pc:sldLayoutChg>
        <pc:sldLayoutChg chg="addSp">
          <pc:chgData name="Aurelien Domont" userId="6da7715ce44349b3" providerId="LiveId" clId="{1A65848B-9F1B-4AD0-AD98-692A2614DF16}" dt="2023-05-05T06:37:03.994" v="2731"/>
          <pc:sldLayoutMkLst>
            <pc:docMk/>
            <pc:sldMasterMk cId="3480026145" sldId="2147483670"/>
            <pc:sldLayoutMk cId="58023132" sldId="2147483675"/>
          </pc:sldLayoutMkLst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58023132" sldId="2147483675"/>
              <ac:spMk id="6" creationId="{2CFDD1D2-D607-693D-DF8A-2EC3F6D41E35}"/>
            </ac:spMkLst>
          </pc:spChg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58023132" sldId="2147483675"/>
              <ac:spMk id="10" creationId="{9762ABEF-ED18-E610-B1BC-53DA62A8D438}"/>
            </ac:spMkLst>
          </pc:spChg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58023132" sldId="2147483675"/>
              <ac:spMk id="17" creationId="{90FDF15D-4206-8D33-68FB-CBA69C852E79}"/>
            </ac:spMkLst>
          </pc:spChg>
          <pc:graphicFrameChg chg="add">
            <ac:chgData name="Aurelien Domont" userId="6da7715ce44349b3" providerId="LiveId" clId="{1A65848B-9F1B-4AD0-AD98-692A2614DF16}" dt="2023-05-05T06:37:03.994" v="2731"/>
            <ac:graphicFrameMkLst>
              <pc:docMk/>
              <pc:sldMasterMk cId="3480026145" sldId="2147483670"/>
              <pc:sldLayoutMk cId="58023132" sldId="2147483675"/>
              <ac:graphicFrameMk id="5" creationId="{94AC7B56-5D88-9259-E8A6-44FBF512DAEB}"/>
            </ac:graphicFrameMkLst>
          </pc:graphicFrameChg>
          <pc:cxnChg chg="add">
            <ac:chgData name="Aurelien Domont" userId="6da7715ce44349b3" providerId="LiveId" clId="{1A65848B-9F1B-4AD0-AD98-692A2614DF16}" dt="2023-05-05T06:37:03.994" v="2731"/>
            <ac:cxnSpMkLst>
              <pc:docMk/>
              <pc:sldMasterMk cId="3480026145" sldId="2147483670"/>
              <pc:sldLayoutMk cId="58023132" sldId="2147483675"/>
              <ac:cxnSpMk id="16" creationId="{3EB81AA0-8E1B-FEB0-BE59-F1314857322C}"/>
            </ac:cxnSpMkLst>
          </pc:cxn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6/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6/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1422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8929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69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5246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616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553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8054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1793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6403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6177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540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8.xml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9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0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3.xml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4.xml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5.xm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8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9.xml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0.xml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2.xml"/><Relationship Id="rId7" Type="http://schemas.openxmlformats.org/officeDocument/2006/relationships/image" Target="../media/image2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91092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52088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569772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323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5950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649344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073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1539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2349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31460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285722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7718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0715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93068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918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3090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1587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554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637223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911585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612780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97623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20642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1177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8165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85475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83574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837615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673380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76687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3443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2438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2834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28949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297620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965155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24421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860844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791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5369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523AEE-DF7D-062F-597A-BFF164BD73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523AEE-DF7D-062F-597A-BFF164BD73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B19FF83-CA3D-5098-04B9-6A2F5327229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BE1F21-E6E5-C81C-7588-C9AD16037932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4712233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7983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12303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1146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6633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5440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749279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8486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4397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5853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0949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987152-7807-F39F-6B26-5C428B8967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987152-7807-F39F-6B26-5C428B896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9BB852-C1B0-25DB-CC13-E743F6521F9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37D888-C9BB-CB2C-2952-84297D8940A8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21F1F3-0949-AEEF-3A63-7884BC3CC329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58067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775014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579806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2413899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33871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3641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2167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452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26070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019900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4165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5266D55-3B8A-9146-2F97-D45DC98FC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5266D55-3B8A-9146-2F97-D45DC98FC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B8370F7-B206-CCD4-9976-904AFE4198E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6A756B-F76C-E2A7-2648-F0FCF37B9C3A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3AFA2DB-2407-3067-A3BE-4E7A22D28463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875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179560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928599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9642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3192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58980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433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9075776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C7B56-5D88-9259-E8A6-44FBF512D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C7B56-5D88-9259-E8A6-44FBF512D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CFDD1D2-D607-693D-DF8A-2EC3F6D41E3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62ABEF-ED18-E610-B1BC-53DA62A8D438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B81AA0-8E1B-FEB0-BE59-F1314857322C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90FDF15D-4206-8D33-68FB-CBA69C852E79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23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oleObject" Target="../embeddings/oleObject63.bin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tags" Target="../tags/tag120.xml"/><Relationship Id="rId5" Type="http://schemas.openxmlformats.org/officeDocument/2006/relationships/slideLayout" Target="../slideLayouts/slideLayout72.xml"/><Relationship Id="rId10" Type="http://schemas.openxmlformats.org/officeDocument/2006/relationships/tags" Target="../tags/tag119.xml"/><Relationship Id="rId4" Type="http://schemas.openxmlformats.org/officeDocument/2006/relationships/slideLayout" Target="../slideLayouts/slideLayout71.xml"/><Relationship Id="rId9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ags" Target="../tags/tag15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ags" Target="../tags/tag14.xml"/><Relationship Id="rId5" Type="http://schemas.openxmlformats.org/officeDocument/2006/relationships/slideLayout" Target="../slideLayouts/slideLayout9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3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12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3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oleObject" Target="../embeddings/oleObject23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ags" Target="../tags/tag52.xml"/><Relationship Id="rId5" Type="http://schemas.openxmlformats.org/officeDocument/2006/relationships/slideLayout" Target="../slideLayouts/slideLayout24.xml"/><Relationship Id="rId10" Type="http://schemas.openxmlformats.org/officeDocument/2006/relationships/tags" Target="../tags/tag51.xml"/><Relationship Id="rId4" Type="http://schemas.openxmlformats.org/officeDocument/2006/relationships/slideLayout" Target="../slideLayouts/slideLayout23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oleObject" Target="../embeddings/oleObject32.bin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67.xml"/><Relationship Id="rId5" Type="http://schemas.openxmlformats.org/officeDocument/2006/relationships/slideLayout" Target="../slideLayouts/slideLayout32.xml"/><Relationship Id="rId10" Type="http://schemas.openxmlformats.org/officeDocument/2006/relationships/tags" Target="../tags/tag66.xml"/><Relationship Id="rId4" Type="http://schemas.openxmlformats.org/officeDocument/2006/relationships/slideLayout" Target="../slideLayouts/slideLayout31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ags" Target="../tags/tag82.xml"/><Relationship Id="rId5" Type="http://schemas.openxmlformats.org/officeDocument/2006/relationships/slideLayout" Target="../slideLayouts/slideLayout40.xml"/><Relationship Id="rId10" Type="http://schemas.openxmlformats.org/officeDocument/2006/relationships/tags" Target="../tags/tag81.xml"/><Relationship Id="rId4" Type="http://schemas.openxmlformats.org/officeDocument/2006/relationships/slideLayout" Target="../slideLayouts/slideLayout39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oleObject" Target="../embeddings/oleObject50.bin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ags" Target="../tags/tag97.xml"/><Relationship Id="rId5" Type="http://schemas.openxmlformats.org/officeDocument/2006/relationships/slideLayout" Target="../slideLayouts/slideLayout48.xml"/><Relationship Id="rId10" Type="http://schemas.openxmlformats.org/officeDocument/2006/relationships/tags" Target="../tags/tag96.xml"/><Relationship Id="rId4" Type="http://schemas.openxmlformats.org/officeDocument/2006/relationships/slideLayout" Target="../slideLayouts/slideLayout47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oleObject" Target="../embeddings/oleObject59.bin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tags" Target="../tags/tag112.xml"/><Relationship Id="rId5" Type="http://schemas.openxmlformats.org/officeDocument/2006/relationships/slideLayout" Target="../slideLayouts/slideLayout56.xml"/><Relationship Id="rId10" Type="http://schemas.openxmlformats.org/officeDocument/2006/relationships/tags" Target="../tags/tag111.xml"/><Relationship Id="rId4" Type="http://schemas.openxmlformats.org/officeDocument/2006/relationships/slideLayout" Target="../slideLayouts/slideLayout55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64.xml"/><Relationship Id="rId10" Type="http://schemas.openxmlformats.org/officeDocument/2006/relationships/tags" Target="../tags/tag115.xml"/><Relationship Id="rId4" Type="http://schemas.openxmlformats.org/officeDocument/2006/relationships/slideLayout" Target="../slideLayouts/slideLayout63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66" r:id="rId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417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DF45FE-35B3-2ACA-750A-280401E60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4" imgH="344" progId="TCLayout.ActiveDocument.1">
                  <p:embed/>
                </p:oleObj>
              </mc:Choice>
              <mc:Fallback>
                <p:oleObj name="think-cell Slide" r:id="rId1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DF45FE-35B3-2ACA-750A-280401E60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88F295C-9C57-0356-119D-1F2D6E610CA1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9245F7-4C1E-B61C-D250-B442AF1B938E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9B315-B1B0-698E-0C25-26A9FA8B84B9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002614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587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383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85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775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33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685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693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slidebooks.com/products/business-toolkit?variant=12473147916370&amp;utm_source=email&amp;utm_medium=email&amp;utm_campaign=entering%20new%20market" TargetMode="Externa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10.xml"/><Relationship Id="rId9" Type="http://schemas.openxmlformats.org/officeDocument/2006/relationships/hyperlink" Target="https://www.domontconsulting.com/pages/full-access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domontconsulting.com/" TargetMode="Externa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11.xml"/><Relationship Id="rId9" Type="http://schemas.openxmlformats.org/officeDocument/2006/relationships/hyperlink" Target="http://www.domontconsulting.com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174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1A0FD28-B360-4C9C-A1CC-D67C30C86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C222716-69D1-4221-B418-044978CCFE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0" y="810229"/>
            <a:ext cx="11384659" cy="196716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400" dirty="0"/>
              <a:t>Three Financial Statements Model </a:t>
            </a:r>
            <a:br>
              <a:rPr lang="en-US" sz="5400" dirty="0"/>
            </a:br>
            <a:r>
              <a:rPr lang="en-US" b="0"/>
              <a:t>Example 1 </a:t>
            </a:r>
            <a:r>
              <a:rPr lang="en-US" b="0" dirty="0"/>
              <a:t>- Tutorial</a:t>
            </a:r>
            <a:endParaRPr lang="en-US" sz="54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CC70D54-7ED4-413B-9765-58C9A9D81D3A}"/>
              </a:ext>
            </a:extLst>
          </p:cNvPr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F04C1B76-90D8-40DB-94ED-24A864BFBA56}"/>
                </a:ext>
              </a:extLst>
            </p:cNvPr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rgbClr val="FFFFFF">
                    <a:lumMod val="85000"/>
                  </a:srgbClr>
                </a:gs>
                <a:gs pos="3400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F61102C-BCA7-4CBF-AA08-2A8190D41E84}"/>
                </a:ext>
              </a:extLst>
            </p:cNvPr>
            <p:cNvSpPr txBox="1"/>
            <p:nvPr/>
          </p:nvSpPr>
          <p:spPr>
            <a:xfrm rot="18948199">
              <a:off x="20409" y="266480"/>
              <a:ext cx="702416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D4B6D"/>
                  </a:solidFill>
                  <a:effectLst/>
                  <a:uLnTx/>
                  <a:uFillTx/>
                  <a:latin typeface="Arial"/>
                </a:rPr>
                <a:t>Confidential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5637A05-21FA-40B2-8EC9-FA3CCC279379}"/>
                </a:ext>
              </a:extLst>
            </p:cNvPr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D4AD69A-E74E-4ECC-8128-6060F9673920}"/>
                </a:ext>
              </a:extLst>
            </p:cNvPr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</p:grp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2CB704D-C26F-E100-A0A1-C3C25AB261D6}"/>
              </a:ext>
            </a:extLst>
          </p:cNvPr>
          <p:cNvSpPr txBox="1">
            <a:spLocks/>
          </p:cNvSpPr>
          <p:nvPr/>
        </p:nvSpPr>
        <p:spPr>
          <a:xfrm>
            <a:off x="696353" y="3429000"/>
            <a:ext cx="5316053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41" indent="-16827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451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789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solidFill>
                  <a:schemeClr val="accent1"/>
                </a:solidFill>
              </a:rPr>
              <a:t>Created by former JP Morgan Investment Bankers, and McKinsey &amp; Deloitte Consultants</a:t>
            </a:r>
            <a:endParaRPr lang="en-US" sz="2000" dirty="0">
              <a:solidFill>
                <a:schemeClr val="accent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799132-41A7-4B2F-F570-0BD61D9248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42964" y="4110355"/>
            <a:ext cx="6844235" cy="224758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319013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D01E70-F8C7-493C-AEDD-E5492D344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BD01E70-F8C7-493C-AEDD-E5492D344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A098EA-8CD1-417F-A724-88393CE457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>
            <a:hlinkClick r:id="rId7"/>
            <a:extLst>
              <a:ext uri="{FF2B5EF4-FFF2-40B4-BE49-F238E27FC236}">
                <a16:creationId xmlns:a16="http://schemas.microsoft.com/office/drawing/2014/main" id="{C0EC32D3-CE1C-48E3-89F2-1AFBF8A9B34F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9576" y="1756411"/>
            <a:ext cx="6232848" cy="3505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dirty="0">
                <a:sym typeface="Arial" panose="020B0604020202020204" pitchFamily="34" charset="0"/>
              </a:rPr>
              <a:t>Interested in more than 1 Toolkit? </a:t>
            </a:r>
            <a:br>
              <a:rPr lang="en-US" sz="2200" dirty="0">
                <a:sym typeface="Arial" panose="020B0604020202020204" pitchFamily="34" charset="0"/>
              </a:rPr>
            </a:br>
            <a:r>
              <a:rPr lang="en-US" sz="2200" b="0" dirty="0">
                <a:sym typeface="Arial" panose="020B0604020202020204" pitchFamily="34" charset="0"/>
              </a:rPr>
              <a:t>Access all our Toolkits for </a:t>
            </a:r>
            <a:r>
              <a:rPr lang="en-US" sz="2200" b="0" u="sng" dirty="0">
                <a:sym typeface="Arial" panose="020B0604020202020204" pitchFamily="34" charset="0"/>
              </a:rPr>
              <a:t>half the price</a:t>
            </a:r>
            <a:r>
              <a:rPr lang="en-US" sz="2200" b="0" dirty="0">
                <a:sym typeface="Arial" panose="020B0604020202020204" pitchFamily="34" charset="0"/>
              </a:rPr>
              <a:t> with our Gold Acce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0F4260-85F5-47B2-8F90-716F660402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0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724769-7F7A-49A0-978E-58661220D668}"/>
              </a:ext>
            </a:extLst>
          </p:cNvPr>
          <p:cNvSpPr txBox="1">
            <a:spLocks/>
          </p:cNvSpPr>
          <p:nvPr/>
        </p:nvSpPr>
        <p:spPr>
          <a:xfrm>
            <a:off x="3697289" y="5365291"/>
            <a:ext cx="4797423" cy="423802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400" kern="0" dirty="0"/>
              <a:t>Gold Access</a:t>
            </a:r>
          </a:p>
        </p:txBody>
      </p:sp>
      <p:sp>
        <p:nvSpPr>
          <p:cNvPr id="5" name="Rectangle: Rounded Corners 4">
            <a:hlinkClick r:id="rId9"/>
            <a:extLst>
              <a:ext uri="{FF2B5EF4-FFF2-40B4-BE49-F238E27FC236}">
                <a16:creationId xmlns:a16="http://schemas.microsoft.com/office/drawing/2014/main" id="{D4604511-274B-95D2-A130-C832BC31795C}"/>
              </a:ext>
            </a:extLst>
          </p:cNvPr>
          <p:cNvSpPr/>
          <p:nvPr/>
        </p:nvSpPr>
        <p:spPr bwMode="auto">
          <a:xfrm>
            <a:off x="4782000" y="6009488"/>
            <a:ext cx="2628000" cy="324000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14400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Click here to learn more</a:t>
            </a:r>
          </a:p>
        </p:txBody>
      </p:sp>
    </p:spTree>
    <p:extLst>
      <p:ext uri="{BB962C8B-B14F-4D97-AF65-F5344CB8AC3E}">
        <p14:creationId xmlns:p14="http://schemas.microsoft.com/office/powerpoint/2010/main" val="17545858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32FE54-3FF5-4B4C-8DBC-DAAD65190E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32FE54-3FF5-4B4C-8DBC-DAAD65190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313AF4-C8B1-42E4-ACB5-22D9C13E37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Thanks for your attention!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29769-9B2F-4A51-8446-2206A9A2E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900" smtClean="0">
                <a:solidFill>
                  <a:srgbClr val="ADAFBB"/>
                </a:solidFill>
              </a:rPr>
              <a:pPr/>
              <a:t>1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DAB30E-4A95-4189-A17B-D6BED1B10135}"/>
              </a:ext>
            </a:extLst>
          </p:cNvPr>
          <p:cNvSpPr/>
          <p:nvPr/>
        </p:nvSpPr>
        <p:spPr>
          <a:xfrm>
            <a:off x="4993256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719C9D-04F3-4DAC-9FB5-A9FED928C93B}"/>
              </a:ext>
            </a:extLst>
          </p:cNvPr>
          <p:cNvSpPr/>
          <p:nvPr/>
        </p:nvSpPr>
        <p:spPr>
          <a:xfrm>
            <a:off x="7599492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hlinkClick r:id="rId7"/>
            <a:extLst>
              <a:ext uri="{FF2B5EF4-FFF2-40B4-BE49-F238E27FC236}">
                <a16:creationId xmlns:a16="http://schemas.microsoft.com/office/drawing/2014/main" id="{771DD74C-7D3F-DE9F-D2F1-58329D0C35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4834" y="3004556"/>
            <a:ext cx="5038200" cy="11849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7FB609-A863-8150-7235-F7110B23F9D1}"/>
              </a:ext>
            </a:extLst>
          </p:cNvPr>
          <p:cNvSpPr txBox="1"/>
          <p:nvPr/>
        </p:nvSpPr>
        <p:spPr>
          <a:xfrm>
            <a:off x="4077852" y="4302860"/>
            <a:ext cx="3672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  <a:hlinkClick r:id="rId9"/>
              </a:rPr>
              <a:t>www.domontconsulting.com</a:t>
            </a:r>
            <a:r>
              <a:rPr lang="en-US" dirty="0">
                <a:solidFill>
                  <a:srgbClr val="00B0F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97254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81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1 - Open the document “</a:t>
            </a:r>
            <a:r>
              <a:rPr lang="en-GB" sz="2400" kern="0" dirty="0"/>
              <a:t>Three Financial Statement Model” and f</a:t>
            </a:r>
            <a:r>
              <a:rPr lang="en-US" sz="2400" kern="0" dirty="0"/>
              <a:t>ill in the cover pa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7D2780-3C7A-07D0-7766-0AACD5BFA3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4691" y="2115220"/>
            <a:ext cx="9592129" cy="385801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416045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2 - Click on the tab 2 “Three Statement Model” and make sure that you do not need to add or remove a building block based on your specific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9FE409-D216-4728-E758-7121229048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587" y="1904690"/>
            <a:ext cx="10792337" cy="326322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Rounded Rectangular Callout 9">
            <a:extLst>
              <a:ext uri="{FF2B5EF4-FFF2-40B4-BE49-F238E27FC236}">
                <a16:creationId xmlns:a16="http://schemas.microsoft.com/office/drawing/2014/main" id="{F94F7269-B65E-8A57-4C49-A2C95AC3D119}"/>
              </a:ext>
            </a:extLst>
          </p:cNvPr>
          <p:cNvSpPr/>
          <p:nvPr/>
        </p:nvSpPr>
        <p:spPr bwMode="auto">
          <a:xfrm>
            <a:off x="1111617" y="5443010"/>
            <a:ext cx="3237099" cy="1049865"/>
          </a:xfrm>
          <a:prstGeom prst="wedgeRoundRectCallout">
            <a:avLst>
              <a:gd name="adj1" fmla="val -32735"/>
              <a:gd name="adj2" fmla="val -81827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dirty="0">
                <a:cs typeface="Times New Roman" pitchFamily="18" charset="0"/>
              </a:rPr>
              <a:t>This is a standard Three Statement Model. However, the specificities of your situation may require to add or remove a building bloc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F7124F-6422-B885-0578-C3A4DE4F0B67}"/>
              </a:ext>
            </a:extLst>
          </p:cNvPr>
          <p:cNvSpPr/>
          <p:nvPr/>
        </p:nvSpPr>
        <p:spPr>
          <a:xfrm>
            <a:off x="733647" y="2711302"/>
            <a:ext cx="10792337" cy="2360428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218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3 - Adjust if required the periodicity based on the specificities of your organiz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007C82F-3F7B-69AB-437E-1F10B8FF99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4587" y="1904690"/>
            <a:ext cx="10792337" cy="326322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CE97344-ECA0-A89B-C576-7DC73EA25B5B}"/>
              </a:ext>
            </a:extLst>
          </p:cNvPr>
          <p:cNvSpPr/>
          <p:nvPr/>
        </p:nvSpPr>
        <p:spPr>
          <a:xfrm>
            <a:off x="3721395" y="2152774"/>
            <a:ext cx="7816018" cy="377776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2841CC0B-AD2D-A528-432E-F4D6BAA34D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517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4 - Adjust if required the items in each building bloc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5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9E7982-A4BC-4467-4480-EA22A2B7B4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13" y="2028297"/>
            <a:ext cx="10918974" cy="358569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0C20967-A879-7D35-CDC8-E03CD580E54B}"/>
              </a:ext>
            </a:extLst>
          </p:cNvPr>
          <p:cNvSpPr/>
          <p:nvPr/>
        </p:nvSpPr>
        <p:spPr>
          <a:xfrm>
            <a:off x="998337" y="3516557"/>
            <a:ext cx="3221666" cy="2097433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ular Callout 9">
            <a:extLst>
              <a:ext uri="{FF2B5EF4-FFF2-40B4-BE49-F238E27FC236}">
                <a16:creationId xmlns:a16="http://schemas.microsoft.com/office/drawing/2014/main" id="{2543CC0E-0444-FB1D-A842-198CAEA10CA7}"/>
              </a:ext>
            </a:extLst>
          </p:cNvPr>
          <p:cNvSpPr/>
          <p:nvPr/>
        </p:nvSpPr>
        <p:spPr bwMode="auto">
          <a:xfrm>
            <a:off x="2544252" y="5784112"/>
            <a:ext cx="6259506" cy="848602"/>
          </a:xfrm>
          <a:prstGeom prst="wedgeRoundRectCallout">
            <a:avLst>
              <a:gd name="adj1" fmla="val -32735"/>
              <a:gd name="adj2" fmla="val -81827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dirty="0">
                <a:cs typeface="Times New Roman" pitchFamily="18" charset="0"/>
              </a:rPr>
              <a:t>For example, you may decide to add the item “</a:t>
            </a:r>
            <a:r>
              <a:rPr lang="en-GB" sz="1200" dirty="0">
                <a:solidFill>
                  <a:schemeClr val="tx1"/>
                </a:solidFill>
              </a:rPr>
              <a:t>Dividend </a:t>
            </a:r>
            <a:r>
              <a:rPr lang="en-GB" sz="1200" dirty="0" err="1">
                <a:solidFill>
                  <a:schemeClr val="tx1"/>
                </a:solidFill>
              </a:rPr>
              <a:t>payout</a:t>
            </a:r>
            <a:r>
              <a:rPr lang="en-US" sz="1200" dirty="0">
                <a:solidFill>
                  <a:schemeClr val="tx1"/>
                </a:solidFill>
                <a:cs typeface="Times New Roman" pitchFamily="18" charset="0"/>
              </a:rPr>
              <a:t>” by adding a row. Or you may decide to remove the interest expenses. If required, you may have to add a row in the assumption building block if it helps you forecast the future dividend payout</a:t>
            </a:r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968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5 - Fill in the templates more or less in the order displayed belo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6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15C938B-09B2-FA4E-4348-15BA21831143}"/>
              </a:ext>
            </a:extLst>
          </p:cNvPr>
          <p:cNvSpPr/>
          <p:nvPr/>
        </p:nvSpPr>
        <p:spPr>
          <a:xfrm>
            <a:off x="603228" y="5601007"/>
            <a:ext cx="2121239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bt &amp; Interes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70BD1A-4992-BF23-4DB2-DECF83CBA167}"/>
              </a:ext>
            </a:extLst>
          </p:cNvPr>
          <p:cNvSpPr/>
          <p:nvPr/>
        </p:nvSpPr>
        <p:spPr>
          <a:xfrm>
            <a:off x="603228" y="2751962"/>
            <a:ext cx="2121239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come statem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A09983E-DAB6-D790-81AE-261956D08694}"/>
              </a:ext>
            </a:extLst>
          </p:cNvPr>
          <p:cNvSpPr/>
          <p:nvPr/>
        </p:nvSpPr>
        <p:spPr>
          <a:xfrm>
            <a:off x="603228" y="3891580"/>
            <a:ext cx="2121239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sh flow stat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247AC3-2E7A-4CA1-2780-871AC7D977F8}"/>
              </a:ext>
            </a:extLst>
          </p:cNvPr>
          <p:cNvSpPr/>
          <p:nvPr/>
        </p:nvSpPr>
        <p:spPr>
          <a:xfrm>
            <a:off x="603228" y="3321771"/>
            <a:ext cx="2121239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lance shee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BBC8D6-4349-F465-7209-812581166E17}"/>
              </a:ext>
            </a:extLst>
          </p:cNvPr>
          <p:cNvSpPr/>
          <p:nvPr/>
        </p:nvSpPr>
        <p:spPr>
          <a:xfrm>
            <a:off x="603228" y="4461389"/>
            <a:ext cx="2121239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orking capita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60A24A-A998-D579-E46C-4397D5A9C432}"/>
              </a:ext>
            </a:extLst>
          </p:cNvPr>
          <p:cNvSpPr/>
          <p:nvPr/>
        </p:nvSpPr>
        <p:spPr>
          <a:xfrm>
            <a:off x="603228" y="5031198"/>
            <a:ext cx="2121239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preciation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EAB1704-779F-6DE5-D2AE-CA24B931ED03}"/>
              </a:ext>
            </a:extLst>
          </p:cNvPr>
          <p:cNvSpPr/>
          <p:nvPr/>
        </p:nvSpPr>
        <p:spPr>
          <a:xfrm>
            <a:off x="603228" y="6170819"/>
            <a:ext cx="2121239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shboar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758C308-CEEB-89CE-E70C-79B169510408}"/>
              </a:ext>
            </a:extLst>
          </p:cNvPr>
          <p:cNvSpPr/>
          <p:nvPr/>
        </p:nvSpPr>
        <p:spPr>
          <a:xfrm>
            <a:off x="3080616" y="1657400"/>
            <a:ext cx="3708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1400" b="1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Historical Period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F5BB3A-3EE3-68C2-B5B6-B05A5209A5FA}"/>
              </a:ext>
            </a:extLst>
          </p:cNvPr>
          <p:cNvSpPr/>
          <p:nvPr/>
        </p:nvSpPr>
        <p:spPr>
          <a:xfrm>
            <a:off x="7237946" y="1657400"/>
            <a:ext cx="3708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AU" sz="1400" b="1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ecast Perio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53779-E9D7-89C6-956A-F7FB4DD80076}"/>
              </a:ext>
            </a:extLst>
          </p:cNvPr>
          <p:cNvSpPr/>
          <p:nvPr/>
        </p:nvSpPr>
        <p:spPr>
          <a:xfrm>
            <a:off x="3080616" y="2751961"/>
            <a:ext cx="3708000" cy="3209045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AU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1. Mainly inpu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0CC5CCF-1F63-EBD7-C6A7-13DF617B15C2}"/>
              </a:ext>
            </a:extLst>
          </p:cNvPr>
          <p:cNvSpPr/>
          <p:nvPr/>
        </p:nvSpPr>
        <p:spPr>
          <a:xfrm>
            <a:off x="3080616" y="6170819"/>
            <a:ext cx="7866000" cy="360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AU" sz="14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5. Mainly links/outpu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57458C6-45B9-89E5-0122-3249D0964E4D}"/>
              </a:ext>
            </a:extLst>
          </p:cNvPr>
          <p:cNvSpPr/>
          <p:nvPr/>
        </p:nvSpPr>
        <p:spPr>
          <a:xfrm>
            <a:off x="603228" y="2182153"/>
            <a:ext cx="2121239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ump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810A1F2-BCDF-14FF-EB18-E75D5F5FC587}"/>
              </a:ext>
            </a:extLst>
          </p:cNvPr>
          <p:cNvSpPr/>
          <p:nvPr/>
        </p:nvSpPr>
        <p:spPr>
          <a:xfrm>
            <a:off x="3080616" y="2182153"/>
            <a:ext cx="3708000" cy="360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14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Mainly formula and link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13E7937-6AFB-C061-B8FC-CFEE8B9AF782}"/>
              </a:ext>
            </a:extLst>
          </p:cNvPr>
          <p:cNvSpPr/>
          <p:nvPr/>
        </p:nvSpPr>
        <p:spPr>
          <a:xfrm>
            <a:off x="7237946" y="2751962"/>
            <a:ext cx="3708000" cy="3209044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14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4. Mainly formula and link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B9D2962-CC5F-F479-16D9-C3EDEF564F66}"/>
              </a:ext>
            </a:extLst>
          </p:cNvPr>
          <p:cNvSpPr/>
          <p:nvPr/>
        </p:nvSpPr>
        <p:spPr>
          <a:xfrm>
            <a:off x="7237946" y="2182153"/>
            <a:ext cx="3708000" cy="360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AU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3. Mainly input</a:t>
            </a:r>
          </a:p>
        </p:txBody>
      </p:sp>
      <p:sp>
        <p:nvSpPr>
          <p:cNvPr id="52" name="Arrow: Up 51">
            <a:extLst>
              <a:ext uri="{FF2B5EF4-FFF2-40B4-BE49-F238E27FC236}">
                <a16:creationId xmlns:a16="http://schemas.microsoft.com/office/drawing/2014/main" id="{AAF0D362-5670-0C0B-B0CF-AE083D24AEF7}"/>
              </a:ext>
            </a:extLst>
          </p:cNvPr>
          <p:cNvSpPr/>
          <p:nvPr/>
        </p:nvSpPr>
        <p:spPr>
          <a:xfrm>
            <a:off x="4668802" y="2594918"/>
            <a:ext cx="531628" cy="1499191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3" name="Arrow: Up 52">
            <a:extLst>
              <a:ext uri="{FF2B5EF4-FFF2-40B4-BE49-F238E27FC236}">
                <a16:creationId xmlns:a16="http://schemas.microsoft.com/office/drawing/2014/main" id="{94411B58-067D-EEEF-2D3B-BE967C28DD0D}"/>
              </a:ext>
            </a:extLst>
          </p:cNvPr>
          <p:cNvSpPr/>
          <p:nvPr/>
        </p:nvSpPr>
        <p:spPr>
          <a:xfrm rot="5400000">
            <a:off x="6972131" y="1486505"/>
            <a:ext cx="531628" cy="1751297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4" name="Arrow: Up 53">
            <a:extLst>
              <a:ext uri="{FF2B5EF4-FFF2-40B4-BE49-F238E27FC236}">
                <a16:creationId xmlns:a16="http://schemas.microsoft.com/office/drawing/2014/main" id="{4F8E3D5E-679A-5082-3AB3-1F38E242D2E3}"/>
              </a:ext>
            </a:extLst>
          </p:cNvPr>
          <p:cNvSpPr/>
          <p:nvPr/>
        </p:nvSpPr>
        <p:spPr>
          <a:xfrm rot="10800000">
            <a:off x="8915381" y="2630037"/>
            <a:ext cx="531628" cy="1464071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5" name="Arrow: Up 54">
            <a:extLst>
              <a:ext uri="{FF2B5EF4-FFF2-40B4-BE49-F238E27FC236}">
                <a16:creationId xmlns:a16="http://schemas.microsoft.com/office/drawing/2014/main" id="{4B816A14-C00E-DE04-DB71-4FD723630594}"/>
              </a:ext>
            </a:extLst>
          </p:cNvPr>
          <p:cNvSpPr/>
          <p:nvPr/>
        </p:nvSpPr>
        <p:spPr>
          <a:xfrm rot="10800000">
            <a:off x="8915381" y="4774381"/>
            <a:ext cx="531628" cy="1464071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1668397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6 - </a:t>
            </a:r>
            <a:r>
              <a:rPr lang="en-US" sz="2400" kern="0"/>
              <a:t>Double check </a:t>
            </a:r>
            <a:r>
              <a:rPr lang="en-US" sz="2400" kern="0" dirty="0"/>
              <a:t>that your balance sheet is balanc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7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5B2F9A-0CC2-1A04-1591-4F92650DE1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3987" y="2618531"/>
            <a:ext cx="3205169" cy="2892425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40118" tIns="40118" rIns="40118" bIns="40118"/>
          <a:lstStyle/>
          <a:p>
            <a:pPr fontAlgn="auto">
              <a:spcBef>
                <a:spcPts val="40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dirty="0">
              <a:cs typeface="+mn-cs"/>
            </a:endParaRPr>
          </a:p>
        </p:txBody>
      </p:sp>
      <p:sp>
        <p:nvSpPr>
          <p:cNvPr id="4" name="Rectangle 11">
            <a:extLst>
              <a:ext uri="{FF2B5EF4-FFF2-40B4-BE49-F238E27FC236}">
                <a16:creationId xmlns:a16="http://schemas.microsoft.com/office/drawing/2014/main" id="{2E7C2C16-1102-BA08-6745-C9C487E0AE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7276" y="2619969"/>
            <a:ext cx="3205168" cy="2894012"/>
          </a:xfrm>
          <a:prstGeom prst="rect">
            <a:avLst/>
          </a:prstGeom>
          <a:noFill/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40118" tIns="40118" rIns="40118" bIns="40118"/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</a:pPr>
            <a:endParaRPr lang="nl-NL" sz="1400"/>
          </a:p>
        </p:txBody>
      </p:sp>
      <p:cxnSp>
        <p:nvCxnSpPr>
          <p:cNvPr id="6" name="Elbow Connector 4">
            <a:extLst>
              <a:ext uri="{FF2B5EF4-FFF2-40B4-BE49-F238E27FC236}">
                <a16:creationId xmlns:a16="http://schemas.microsoft.com/office/drawing/2014/main" id="{74973BDE-9E24-3983-7AF3-F37B11C29C7C}"/>
              </a:ext>
            </a:extLst>
          </p:cNvPr>
          <p:cNvCxnSpPr/>
          <p:nvPr/>
        </p:nvCxnSpPr>
        <p:spPr>
          <a:xfrm rot="5400000" flipH="1" flipV="1">
            <a:off x="6118398" y="3817920"/>
            <a:ext cx="29633" cy="3553288"/>
          </a:xfrm>
          <a:prstGeom prst="bentConnector3">
            <a:avLst>
              <a:gd name="adj1" fmla="val -771437"/>
            </a:avLst>
          </a:prstGeom>
          <a:ln w="349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AutoShape 3">
            <a:extLst>
              <a:ext uri="{FF2B5EF4-FFF2-40B4-BE49-F238E27FC236}">
                <a16:creationId xmlns:a16="http://schemas.microsoft.com/office/drawing/2014/main" id="{2F028624-04FF-2798-6ADD-D9AFFEFBE30B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800667" y="5861567"/>
            <a:ext cx="662835" cy="520700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6772 w 21600"/>
              <a:gd name="T13" fmla="*/ 6772 h 21600"/>
              <a:gd name="T14" fmla="*/ 14828 w 21600"/>
              <a:gd name="T15" fmla="*/ 1482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9943" y="21600"/>
                </a:lnTo>
                <a:lnTo>
                  <a:pt x="1165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dirty="0">
              <a:cs typeface="+mn-cs"/>
            </a:endParaRPr>
          </a:p>
        </p:txBody>
      </p:sp>
      <p:sp>
        <p:nvSpPr>
          <p:cNvPr id="8" name="Line 4">
            <a:extLst>
              <a:ext uri="{FF2B5EF4-FFF2-40B4-BE49-F238E27FC236}">
                <a16:creationId xmlns:a16="http://schemas.microsoft.com/office/drawing/2014/main" id="{95EF6B71-21E6-5419-C611-4DB18B495031}"/>
              </a:ext>
            </a:extLst>
          </p:cNvPr>
          <p:cNvSpPr>
            <a:spLocks noChangeShapeType="1"/>
          </p:cNvSpPr>
          <p:nvPr/>
        </p:nvSpPr>
        <p:spPr bwMode="auto">
          <a:xfrm>
            <a:off x="2755745" y="5585569"/>
            <a:ext cx="3203410" cy="0"/>
          </a:xfrm>
          <a:prstGeom prst="line">
            <a:avLst/>
          </a:prstGeom>
          <a:noFill/>
          <a:ln w="50800">
            <a:solidFill>
              <a:schemeClr val="bg1">
                <a:lumMod val="50000"/>
              </a:schemeClr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cs typeface="+mn-cs"/>
            </a:endParaRPr>
          </a:p>
        </p:txBody>
      </p:sp>
      <p:sp>
        <p:nvSpPr>
          <p:cNvPr id="12" name="Line 5">
            <a:extLst>
              <a:ext uri="{FF2B5EF4-FFF2-40B4-BE49-F238E27FC236}">
                <a16:creationId xmlns:a16="http://schemas.microsoft.com/office/drawing/2014/main" id="{5926FB24-916A-61D5-7972-C2115872360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07862" y="5587006"/>
            <a:ext cx="3205169" cy="0"/>
          </a:xfrm>
          <a:prstGeom prst="line">
            <a:avLst/>
          </a:prstGeom>
          <a:noFill/>
          <a:ln w="50800">
            <a:solidFill>
              <a:schemeClr val="bg1">
                <a:lumMod val="50000"/>
              </a:schemeClr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cs typeface="+mn-cs"/>
            </a:endParaRPr>
          </a:p>
        </p:txBody>
      </p:sp>
      <p:sp>
        <p:nvSpPr>
          <p:cNvPr id="20" name="Text Box 10">
            <a:extLst>
              <a:ext uri="{FF2B5EF4-FFF2-40B4-BE49-F238E27FC236}">
                <a16:creationId xmlns:a16="http://schemas.microsoft.com/office/drawing/2014/main" id="{436542ED-3F4B-EC77-E65A-3654FDC48E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53987" y="2345480"/>
            <a:ext cx="3205169" cy="324983"/>
          </a:xfrm>
          <a:prstGeom prst="rect">
            <a:avLst/>
          </a:prstGeom>
          <a:solidFill>
            <a:schemeClr val="tx1"/>
          </a:solidFill>
          <a:ln w="12700" algn="ctr">
            <a:solidFill>
              <a:schemeClr val="tx2"/>
            </a:solidFill>
            <a:miter lim="800000"/>
            <a:headEnd/>
            <a:tailEnd type="none" w="sm" len="med"/>
          </a:ln>
        </p:spPr>
        <p:txBody>
          <a:bodyPr lIns="40118" tIns="40118" rIns="40118" bIns="40118" anchor="ctr" anchorCtr="1"/>
          <a:lstStyle/>
          <a:p>
            <a:pPr algn="ctr" defTabSz="9572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bg1"/>
                </a:solidFill>
                <a:cs typeface="+mn-cs"/>
              </a:rPr>
              <a:t>Asset</a:t>
            </a:r>
          </a:p>
        </p:txBody>
      </p:sp>
      <p:sp>
        <p:nvSpPr>
          <p:cNvPr id="21" name="Text Box 10">
            <a:extLst>
              <a:ext uri="{FF2B5EF4-FFF2-40B4-BE49-F238E27FC236}">
                <a16:creationId xmlns:a16="http://schemas.microsoft.com/office/drawing/2014/main" id="{BFEAFA23-5EAF-47C3-7688-E0E3CC3B68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7276" y="2348506"/>
            <a:ext cx="3205168" cy="323094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none" w="sm" len="med"/>
          </a:ln>
        </p:spPr>
        <p:txBody>
          <a:bodyPr lIns="40118" tIns="40118" rIns="40118" bIns="40118" anchor="ctr" anchorCtr="1"/>
          <a:lstStyle>
            <a:lvl1pPr defTabSz="957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57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57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57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57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400" b="1" dirty="0">
                <a:solidFill>
                  <a:schemeClr val="bg1"/>
                </a:solidFill>
                <a:latin typeface="+mn-lt"/>
              </a:rPr>
              <a:t>Liabilities + Shareholders’ Equity</a:t>
            </a:r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103F9119-9F2C-3E59-41E8-F457FB6793B8}"/>
              </a:ext>
            </a:extLst>
          </p:cNvPr>
          <p:cNvSpPr/>
          <p:nvPr/>
        </p:nvSpPr>
        <p:spPr>
          <a:xfrm>
            <a:off x="2416416" y="2315848"/>
            <a:ext cx="253178" cy="3195108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7D73E7F-38EB-63A1-21DA-D71C855D4016}"/>
              </a:ext>
            </a:extLst>
          </p:cNvPr>
          <p:cNvSpPr txBox="1"/>
          <p:nvPr/>
        </p:nvSpPr>
        <p:spPr>
          <a:xfrm>
            <a:off x="1037999" y="3590237"/>
            <a:ext cx="1350284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Where the money is going t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E732382-E895-AF45-9301-FBCC01346988}"/>
              </a:ext>
            </a:extLst>
          </p:cNvPr>
          <p:cNvSpPr txBox="1"/>
          <p:nvPr/>
        </p:nvSpPr>
        <p:spPr>
          <a:xfrm>
            <a:off x="9979273" y="3622894"/>
            <a:ext cx="13502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Where the money is coming from</a:t>
            </a:r>
          </a:p>
        </p:txBody>
      </p:sp>
      <p:sp>
        <p:nvSpPr>
          <p:cNvPr id="26" name="Left Brace 25">
            <a:extLst>
              <a:ext uri="{FF2B5EF4-FFF2-40B4-BE49-F238E27FC236}">
                <a16:creationId xmlns:a16="http://schemas.microsoft.com/office/drawing/2014/main" id="{2E627E2C-FDE6-6DD6-A825-024CBA546D85}"/>
              </a:ext>
            </a:extLst>
          </p:cNvPr>
          <p:cNvSpPr/>
          <p:nvPr/>
        </p:nvSpPr>
        <p:spPr>
          <a:xfrm rot="10800000">
            <a:off x="9540577" y="2348506"/>
            <a:ext cx="302405" cy="3195108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E4ECC72-491D-2B62-5A19-F0D6148DA471}"/>
              </a:ext>
            </a:extLst>
          </p:cNvPr>
          <p:cNvSpPr/>
          <p:nvPr/>
        </p:nvSpPr>
        <p:spPr bwMode="auto">
          <a:xfrm>
            <a:off x="3048483" y="3726581"/>
            <a:ext cx="2616177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400" dirty="0">
                <a:cs typeface="Times New Roman" pitchFamily="18" charset="0"/>
              </a:rPr>
              <a:t>Fixed Asse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1A5489-DA48-AA30-61B8-5735B169DF50}"/>
              </a:ext>
            </a:extLst>
          </p:cNvPr>
          <p:cNvSpPr/>
          <p:nvPr/>
        </p:nvSpPr>
        <p:spPr bwMode="auto">
          <a:xfrm>
            <a:off x="3048483" y="2797100"/>
            <a:ext cx="2616177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kern="1200" dirty="0">
                <a:ea typeface="+mn-ea"/>
                <a:cs typeface="Times New Roman" pitchFamily="18" charset="0"/>
              </a:rPr>
              <a:t>Current asse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39CC9D2-D7F7-F846-5186-64F7A45D1CA1}"/>
              </a:ext>
            </a:extLst>
          </p:cNvPr>
          <p:cNvSpPr/>
          <p:nvPr/>
        </p:nvSpPr>
        <p:spPr bwMode="auto">
          <a:xfrm>
            <a:off x="3048483" y="4656062"/>
            <a:ext cx="2616177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400" dirty="0">
                <a:cs typeface="Times New Roman" pitchFamily="18" charset="0"/>
              </a:rPr>
              <a:t>Intangible Asse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E92B125-A568-4791-62C6-86011FB060E8}"/>
              </a:ext>
            </a:extLst>
          </p:cNvPr>
          <p:cNvSpPr/>
          <p:nvPr/>
        </p:nvSpPr>
        <p:spPr bwMode="auto">
          <a:xfrm>
            <a:off x="6601772" y="3759239"/>
            <a:ext cx="2616177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400" dirty="0">
                <a:cs typeface="Times New Roman" pitchFamily="18" charset="0"/>
              </a:rPr>
              <a:t>Long-term Liabiliti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E7FD9F9-FC73-EFCD-6ECF-9778360D65DA}"/>
              </a:ext>
            </a:extLst>
          </p:cNvPr>
          <p:cNvSpPr/>
          <p:nvPr/>
        </p:nvSpPr>
        <p:spPr bwMode="auto">
          <a:xfrm>
            <a:off x="6601772" y="2829758"/>
            <a:ext cx="2616177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kern="1200" dirty="0">
                <a:ea typeface="+mn-ea"/>
                <a:cs typeface="Times New Roman" pitchFamily="18" charset="0"/>
              </a:rPr>
              <a:t>Current liabiliti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E0AE52A-745E-C2BB-F9DD-66E83CC519BF}"/>
              </a:ext>
            </a:extLst>
          </p:cNvPr>
          <p:cNvSpPr/>
          <p:nvPr/>
        </p:nvSpPr>
        <p:spPr bwMode="auto">
          <a:xfrm>
            <a:off x="6601772" y="4688720"/>
            <a:ext cx="2616177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400" dirty="0">
                <a:cs typeface="Times New Roman" pitchFamily="18" charset="0"/>
              </a:rPr>
              <a:t>Shareholder’s Equity &amp; Retained Earnings</a:t>
            </a:r>
          </a:p>
        </p:txBody>
      </p:sp>
    </p:spTree>
    <p:extLst>
      <p:ext uri="{BB962C8B-B14F-4D97-AF65-F5344CB8AC3E}">
        <p14:creationId xmlns:p14="http://schemas.microsoft.com/office/powerpoint/2010/main" val="3590846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Step 7 - If the balance sheet is not balanced, review all your inputs, formulas and links</a:t>
            </a:r>
            <a:br>
              <a:rPr lang="en-US" kern="0" dirty="0"/>
            </a:br>
            <a:r>
              <a:rPr lang="en-US" b="0" kern="0" dirty="0"/>
              <a:t>Example of how the income statement and cash flow statement can be link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8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8BBF57-C661-F8B4-94A8-EE94E69ACB08}"/>
              </a:ext>
            </a:extLst>
          </p:cNvPr>
          <p:cNvSpPr/>
          <p:nvPr/>
        </p:nvSpPr>
        <p:spPr>
          <a:xfrm>
            <a:off x="629265" y="1602658"/>
            <a:ext cx="3300563" cy="343662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solidFill>
                  <a:schemeClr val="bg1"/>
                </a:solidFill>
              </a:rPr>
              <a:t>From Income statement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EE5AC1-2771-6A3B-FB6D-C6188797417A}"/>
              </a:ext>
            </a:extLst>
          </p:cNvPr>
          <p:cNvSpPr/>
          <p:nvPr/>
        </p:nvSpPr>
        <p:spPr>
          <a:xfrm>
            <a:off x="629265" y="201505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b="1" dirty="0">
                <a:solidFill>
                  <a:schemeClr val="tx1"/>
                </a:solidFill>
              </a:rPr>
              <a:t>Revenu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A37C25-8D50-CCC7-5017-8699A9A85F60}"/>
              </a:ext>
            </a:extLst>
          </p:cNvPr>
          <p:cNvSpPr/>
          <p:nvPr/>
        </p:nvSpPr>
        <p:spPr>
          <a:xfrm>
            <a:off x="629265" y="2367540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b="1" dirty="0">
                <a:solidFill>
                  <a:schemeClr val="tx1"/>
                </a:solidFill>
              </a:rPr>
              <a:t>Cost of goods sol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C49D77-23CE-186E-8549-25C2615DE07A}"/>
              </a:ext>
            </a:extLst>
          </p:cNvPr>
          <p:cNvSpPr/>
          <p:nvPr/>
        </p:nvSpPr>
        <p:spPr>
          <a:xfrm>
            <a:off x="629265" y="2720028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chemeClr val="tx1"/>
                </a:solidFill>
              </a:rPr>
              <a:t>Gross profit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7EAFF8-A5AD-7B18-1BA3-90E36E5007BA}"/>
              </a:ext>
            </a:extLst>
          </p:cNvPr>
          <p:cNvSpPr/>
          <p:nvPr/>
        </p:nvSpPr>
        <p:spPr>
          <a:xfrm>
            <a:off x="629265" y="3072515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chemeClr val="tx1"/>
                </a:solidFill>
              </a:rPr>
              <a:t>Operating expenses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9CC87E1-497D-4441-01EB-D96778F2F7FC}"/>
              </a:ext>
            </a:extLst>
          </p:cNvPr>
          <p:cNvSpPr/>
          <p:nvPr/>
        </p:nvSpPr>
        <p:spPr>
          <a:xfrm>
            <a:off x="629265" y="342500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chemeClr val="tx1"/>
                </a:solidFill>
              </a:rPr>
              <a:t>EBITDA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1D3975C-87E4-A097-D3A8-75B5A3CCFEB4}"/>
              </a:ext>
            </a:extLst>
          </p:cNvPr>
          <p:cNvSpPr/>
          <p:nvPr/>
        </p:nvSpPr>
        <p:spPr>
          <a:xfrm>
            <a:off x="629265" y="3777490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Depreciation and amortiza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BDAB95D-D9C8-1FC6-5FE5-27B96B648707}"/>
              </a:ext>
            </a:extLst>
          </p:cNvPr>
          <p:cNvSpPr/>
          <p:nvPr/>
        </p:nvSpPr>
        <p:spPr>
          <a:xfrm>
            <a:off x="629265" y="4129978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chemeClr val="tx1"/>
                </a:solidFill>
              </a:rPr>
              <a:t>EBIT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34E92A3-486E-B8E4-8489-35EACFE9F816}"/>
              </a:ext>
            </a:extLst>
          </p:cNvPr>
          <p:cNvSpPr/>
          <p:nvPr/>
        </p:nvSpPr>
        <p:spPr>
          <a:xfrm>
            <a:off x="629265" y="4482465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chemeClr val="tx1"/>
                </a:solidFill>
              </a:rPr>
              <a:t>Interest</a:t>
            </a:r>
            <a:endParaRPr lang="en-AU" sz="1100" b="1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1EDFBDB-BF6C-46C1-EFE2-392457788EC6}"/>
              </a:ext>
            </a:extLst>
          </p:cNvPr>
          <p:cNvSpPr/>
          <p:nvPr/>
        </p:nvSpPr>
        <p:spPr>
          <a:xfrm>
            <a:off x="629265" y="483495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chemeClr val="tx1"/>
                </a:solidFill>
              </a:rPr>
              <a:t>Income tax expense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0CB46DB-4CBD-5E88-C2BF-A11E66AD15D5}"/>
              </a:ext>
            </a:extLst>
          </p:cNvPr>
          <p:cNvSpPr/>
          <p:nvPr/>
        </p:nvSpPr>
        <p:spPr>
          <a:xfrm>
            <a:off x="629265" y="5187440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Net Income (Adjusted)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04C42E7-05A9-FC0D-F24F-4089A87C1AEC}"/>
              </a:ext>
            </a:extLst>
          </p:cNvPr>
          <p:cNvSpPr/>
          <p:nvPr/>
        </p:nvSpPr>
        <p:spPr>
          <a:xfrm>
            <a:off x="629265" y="5539927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Net Incom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3B9BFF3-78F2-0A8B-6392-4A507F46B38A}"/>
              </a:ext>
            </a:extLst>
          </p:cNvPr>
          <p:cNvSpPr/>
          <p:nvPr/>
        </p:nvSpPr>
        <p:spPr>
          <a:xfrm>
            <a:off x="629265" y="5892415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Dividend </a:t>
            </a:r>
            <a:r>
              <a:rPr lang="en-GB" sz="1100" b="1" dirty="0" err="1">
                <a:solidFill>
                  <a:schemeClr val="tx1"/>
                </a:solidFill>
              </a:rPr>
              <a:t>payout</a:t>
            </a:r>
            <a:endParaRPr lang="en-GB" sz="1100" b="1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9493EA5-4BA4-FE2B-E838-D3847D0BCDC7}"/>
              </a:ext>
            </a:extLst>
          </p:cNvPr>
          <p:cNvSpPr/>
          <p:nvPr/>
        </p:nvSpPr>
        <p:spPr>
          <a:xfrm>
            <a:off x="629265" y="6244899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Net income after distributi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A968D9D-62A5-E4B8-764D-BA38BE40D7C1}"/>
              </a:ext>
            </a:extLst>
          </p:cNvPr>
          <p:cNvSpPr/>
          <p:nvPr/>
        </p:nvSpPr>
        <p:spPr>
          <a:xfrm>
            <a:off x="6983796" y="1602658"/>
            <a:ext cx="3300563" cy="343662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solidFill>
                  <a:schemeClr val="bg1"/>
                </a:solidFill>
              </a:rPr>
              <a:t>…to Cash flow statemen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411A4BB-C042-22FA-9858-EE07FCA3B3E4}"/>
              </a:ext>
            </a:extLst>
          </p:cNvPr>
          <p:cNvSpPr/>
          <p:nvPr/>
        </p:nvSpPr>
        <p:spPr>
          <a:xfrm>
            <a:off x="6983796" y="201505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Net income adjuste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B1B026E-F2EC-0FFA-7B4E-6F107333EA1C}"/>
              </a:ext>
            </a:extLst>
          </p:cNvPr>
          <p:cNvSpPr/>
          <p:nvPr/>
        </p:nvSpPr>
        <p:spPr>
          <a:xfrm>
            <a:off x="6983796" y="236444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Depreciation and amortiza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4E74528-6A66-4F07-AD8D-A318C8B255F3}"/>
              </a:ext>
            </a:extLst>
          </p:cNvPr>
          <p:cNvSpPr/>
          <p:nvPr/>
        </p:nvSpPr>
        <p:spPr>
          <a:xfrm>
            <a:off x="6983796" y="271383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Deferred income tax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D7C7708-F071-5165-E846-838BCE935AA1}"/>
              </a:ext>
            </a:extLst>
          </p:cNvPr>
          <p:cNvSpPr/>
          <p:nvPr/>
        </p:nvSpPr>
        <p:spPr>
          <a:xfrm>
            <a:off x="6983796" y="306322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Changes in accounts receivabl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043454F-84E3-EA6D-12E0-BB1F98719407}"/>
              </a:ext>
            </a:extLst>
          </p:cNvPr>
          <p:cNvSpPr/>
          <p:nvPr/>
        </p:nvSpPr>
        <p:spPr>
          <a:xfrm>
            <a:off x="6983796" y="341261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Changes in inventor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9BC8909-AE45-1B4F-4588-434E069602D4}"/>
              </a:ext>
            </a:extLst>
          </p:cNvPr>
          <p:cNvSpPr/>
          <p:nvPr/>
        </p:nvSpPr>
        <p:spPr>
          <a:xfrm>
            <a:off x="6983796" y="376200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Changes in accounts payabl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DC41D2A-36C2-B26C-5D56-D99DD3EB85E3}"/>
              </a:ext>
            </a:extLst>
          </p:cNvPr>
          <p:cNvSpPr/>
          <p:nvPr/>
        </p:nvSpPr>
        <p:spPr>
          <a:xfrm>
            <a:off x="6983796" y="411139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Changes in accrued liabiliti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02F7802-4E9E-6EE1-184A-7828C1935EEF}"/>
              </a:ext>
            </a:extLst>
          </p:cNvPr>
          <p:cNvSpPr/>
          <p:nvPr/>
        </p:nvSpPr>
        <p:spPr>
          <a:xfrm>
            <a:off x="6983796" y="446078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CAPEX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05E3139-FA0C-7BF6-895B-8E3B1A6EFF1D}"/>
              </a:ext>
            </a:extLst>
          </p:cNvPr>
          <p:cNvSpPr/>
          <p:nvPr/>
        </p:nvSpPr>
        <p:spPr>
          <a:xfrm>
            <a:off x="6983796" y="481017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Other investing activiti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B27EE5E-4A55-EE7A-8271-8AB2DF17E685}"/>
              </a:ext>
            </a:extLst>
          </p:cNvPr>
          <p:cNvSpPr/>
          <p:nvPr/>
        </p:nvSpPr>
        <p:spPr>
          <a:xfrm>
            <a:off x="6983796" y="515956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Deb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E74E7AC-81A8-AA43-7F3E-3016AB84E21A}"/>
              </a:ext>
            </a:extLst>
          </p:cNvPr>
          <p:cNvSpPr/>
          <p:nvPr/>
        </p:nvSpPr>
        <p:spPr>
          <a:xfrm>
            <a:off x="6983796" y="550895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Dividends pai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AAE7B3A-A3DF-6EB9-EAC8-3600D4A1F6BA}"/>
              </a:ext>
            </a:extLst>
          </p:cNvPr>
          <p:cNvSpPr/>
          <p:nvPr/>
        </p:nvSpPr>
        <p:spPr>
          <a:xfrm>
            <a:off x="6983796" y="585834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Equity Issuances (buybacks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8FE38BA-834E-497A-04F5-00343758C785}"/>
              </a:ext>
            </a:extLst>
          </p:cNvPr>
          <p:cNvSpPr/>
          <p:nvPr/>
        </p:nvSpPr>
        <p:spPr>
          <a:xfrm>
            <a:off x="6983796" y="6207733"/>
            <a:ext cx="3300563" cy="26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otal change in cash</a:t>
            </a:r>
          </a:p>
        </p:txBody>
      </p:sp>
      <p:sp>
        <p:nvSpPr>
          <p:cNvPr id="49" name="Right Brace 48">
            <a:extLst>
              <a:ext uri="{FF2B5EF4-FFF2-40B4-BE49-F238E27FC236}">
                <a16:creationId xmlns:a16="http://schemas.microsoft.com/office/drawing/2014/main" id="{7C6B7A89-6252-C033-99C1-1F08A6D36EE9}"/>
              </a:ext>
            </a:extLst>
          </p:cNvPr>
          <p:cNvSpPr/>
          <p:nvPr/>
        </p:nvSpPr>
        <p:spPr>
          <a:xfrm>
            <a:off x="10354887" y="1946320"/>
            <a:ext cx="284531" cy="2478367"/>
          </a:xfrm>
          <a:prstGeom prst="rightBrace">
            <a:avLst>
              <a:gd name="adj1" fmla="val 29066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CCF0568-48C0-2BF3-459B-D04BEA40471D}"/>
              </a:ext>
            </a:extLst>
          </p:cNvPr>
          <p:cNvSpPr txBox="1"/>
          <p:nvPr/>
        </p:nvSpPr>
        <p:spPr>
          <a:xfrm>
            <a:off x="10562262" y="2987708"/>
            <a:ext cx="113812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/>
              <a:t>Operating activities</a:t>
            </a:r>
          </a:p>
        </p:txBody>
      </p:sp>
      <p:sp>
        <p:nvSpPr>
          <p:cNvPr id="51" name="Right Brace 50">
            <a:extLst>
              <a:ext uri="{FF2B5EF4-FFF2-40B4-BE49-F238E27FC236}">
                <a16:creationId xmlns:a16="http://schemas.microsoft.com/office/drawing/2014/main" id="{091B2A5D-DF5C-D761-89CC-AC32EE3ED451}"/>
              </a:ext>
            </a:extLst>
          </p:cNvPr>
          <p:cNvSpPr/>
          <p:nvPr/>
        </p:nvSpPr>
        <p:spPr>
          <a:xfrm>
            <a:off x="10354887" y="4484512"/>
            <a:ext cx="284531" cy="659832"/>
          </a:xfrm>
          <a:prstGeom prst="rightBrace">
            <a:avLst>
              <a:gd name="adj1" fmla="val 29066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68DF512-C4B2-0966-6EE7-4E5802C76957}"/>
              </a:ext>
            </a:extLst>
          </p:cNvPr>
          <p:cNvSpPr txBox="1"/>
          <p:nvPr/>
        </p:nvSpPr>
        <p:spPr>
          <a:xfrm>
            <a:off x="10562262" y="4631796"/>
            <a:ext cx="113812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/>
              <a:t>Investing activities</a:t>
            </a:r>
          </a:p>
        </p:txBody>
      </p:sp>
      <p:sp>
        <p:nvSpPr>
          <p:cNvPr id="57" name="Right Brace 56">
            <a:extLst>
              <a:ext uri="{FF2B5EF4-FFF2-40B4-BE49-F238E27FC236}">
                <a16:creationId xmlns:a16="http://schemas.microsoft.com/office/drawing/2014/main" id="{7D0B6837-CE8E-EC2D-109C-4D51C06F5A16}"/>
              </a:ext>
            </a:extLst>
          </p:cNvPr>
          <p:cNvSpPr/>
          <p:nvPr/>
        </p:nvSpPr>
        <p:spPr>
          <a:xfrm>
            <a:off x="10354887" y="5171932"/>
            <a:ext cx="284531" cy="989747"/>
          </a:xfrm>
          <a:prstGeom prst="rightBrace">
            <a:avLst>
              <a:gd name="adj1" fmla="val 29067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301656E-35CE-A14C-6DA0-161160B79EE6}"/>
              </a:ext>
            </a:extLst>
          </p:cNvPr>
          <p:cNvSpPr txBox="1"/>
          <p:nvPr/>
        </p:nvSpPr>
        <p:spPr>
          <a:xfrm>
            <a:off x="10562262" y="5489291"/>
            <a:ext cx="113812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/>
              <a:t>Financing activities</a:t>
            </a:r>
          </a:p>
        </p:txBody>
      </p:sp>
      <p:cxnSp>
        <p:nvCxnSpPr>
          <p:cNvPr id="59" name="Elbow Connector 51">
            <a:extLst>
              <a:ext uri="{FF2B5EF4-FFF2-40B4-BE49-F238E27FC236}">
                <a16:creationId xmlns:a16="http://schemas.microsoft.com/office/drawing/2014/main" id="{BCA503A8-23C2-A85B-BAF6-F8B10DC20CBD}"/>
              </a:ext>
            </a:extLst>
          </p:cNvPr>
          <p:cNvCxnSpPr>
            <a:stCxn id="26" idx="3"/>
            <a:endCxn id="31" idx="1"/>
          </p:cNvCxnSpPr>
          <p:nvPr/>
        </p:nvCxnSpPr>
        <p:spPr>
          <a:xfrm flipV="1">
            <a:off x="3929828" y="2147081"/>
            <a:ext cx="3053969" cy="3172387"/>
          </a:xfrm>
          <a:prstGeom prst="bentConnector3">
            <a:avLst>
              <a:gd name="adj1" fmla="val 5643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3">
            <a:extLst>
              <a:ext uri="{FF2B5EF4-FFF2-40B4-BE49-F238E27FC236}">
                <a16:creationId xmlns:a16="http://schemas.microsoft.com/office/drawing/2014/main" id="{3EFC021B-674A-10CF-E5C3-6BDD80224A46}"/>
              </a:ext>
            </a:extLst>
          </p:cNvPr>
          <p:cNvCxnSpPr>
            <a:stCxn id="21" idx="3"/>
            <a:endCxn id="32" idx="1"/>
          </p:cNvCxnSpPr>
          <p:nvPr/>
        </p:nvCxnSpPr>
        <p:spPr>
          <a:xfrm flipV="1">
            <a:off x="3929828" y="2496471"/>
            <a:ext cx="3053969" cy="141304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Elbow Connector 57">
            <a:extLst>
              <a:ext uri="{FF2B5EF4-FFF2-40B4-BE49-F238E27FC236}">
                <a16:creationId xmlns:a16="http://schemas.microsoft.com/office/drawing/2014/main" id="{D4A301AA-9863-A479-C783-F5339B4B31E1}"/>
              </a:ext>
            </a:extLst>
          </p:cNvPr>
          <p:cNvCxnSpPr>
            <a:stCxn id="28" idx="3"/>
            <a:endCxn id="46" idx="1"/>
          </p:cNvCxnSpPr>
          <p:nvPr/>
        </p:nvCxnSpPr>
        <p:spPr>
          <a:xfrm flipV="1">
            <a:off x="3929828" y="5640981"/>
            <a:ext cx="3053969" cy="38346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75589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Step 7 - If the balance sheet is not balanced, review all your inputs, formulas and links</a:t>
            </a:r>
            <a:br>
              <a:rPr lang="en-US" kern="0" dirty="0"/>
            </a:br>
            <a:r>
              <a:rPr lang="en-US" b="0" kern="0" dirty="0"/>
              <a:t>Example of how the cash flow statement can be linked directly to the balance she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A26C21-C361-3EB9-4573-372E5AEA18FB}"/>
              </a:ext>
            </a:extLst>
          </p:cNvPr>
          <p:cNvSpPr/>
          <p:nvPr/>
        </p:nvSpPr>
        <p:spPr>
          <a:xfrm>
            <a:off x="1810452" y="1602658"/>
            <a:ext cx="3177868" cy="340040"/>
          </a:xfrm>
          <a:prstGeom prst="rect">
            <a:avLst/>
          </a:prstGeom>
          <a:solidFill>
            <a:srgbClr val="002776"/>
          </a:solidFill>
          <a:ln w="25400" cap="flat" cmpd="sng" algn="ctr">
            <a:solidFill>
              <a:srgbClr val="00277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Cash flow statement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2A63B4-FC51-BC9D-B57A-5049FDC48FA2}"/>
              </a:ext>
            </a:extLst>
          </p:cNvPr>
          <p:cNvSpPr/>
          <p:nvPr/>
        </p:nvSpPr>
        <p:spPr>
          <a:xfrm>
            <a:off x="1810452" y="2010706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et income adjuste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4B57AB-020B-D071-0F60-C039A7B8885C}"/>
              </a:ext>
            </a:extLst>
          </p:cNvPr>
          <p:cNvSpPr/>
          <p:nvPr/>
        </p:nvSpPr>
        <p:spPr>
          <a:xfrm>
            <a:off x="1810452" y="2356413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epreciation and amortiz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8800EE-6E5B-3CC5-154D-85E56F160A14}"/>
              </a:ext>
            </a:extLst>
          </p:cNvPr>
          <p:cNvSpPr/>
          <p:nvPr/>
        </p:nvSpPr>
        <p:spPr>
          <a:xfrm>
            <a:off x="1810452" y="2702120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eferred income tax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C4564C-2584-B4F2-084E-0BB64BDC39F3}"/>
              </a:ext>
            </a:extLst>
          </p:cNvPr>
          <p:cNvSpPr/>
          <p:nvPr/>
        </p:nvSpPr>
        <p:spPr>
          <a:xfrm>
            <a:off x="1810452" y="3047827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hanges in accounts receivab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9F3838F-1C78-135E-3DA9-EEE12498C464}"/>
              </a:ext>
            </a:extLst>
          </p:cNvPr>
          <p:cNvSpPr/>
          <p:nvPr/>
        </p:nvSpPr>
        <p:spPr>
          <a:xfrm>
            <a:off x="1810452" y="3393535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hanges in inventor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B5F8284-E99E-6196-D66E-6E244CD9EC78}"/>
              </a:ext>
            </a:extLst>
          </p:cNvPr>
          <p:cNvSpPr/>
          <p:nvPr/>
        </p:nvSpPr>
        <p:spPr>
          <a:xfrm>
            <a:off x="1810452" y="3739242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hanges in accounts payab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FAF5F3-1FA8-8127-A726-B21D5DDEA974}"/>
              </a:ext>
            </a:extLst>
          </p:cNvPr>
          <p:cNvSpPr/>
          <p:nvPr/>
        </p:nvSpPr>
        <p:spPr>
          <a:xfrm>
            <a:off x="1810452" y="4084949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hanges in accrued liabiliti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6813EA4-AA29-8147-FAD6-4A6CB9122F21}"/>
              </a:ext>
            </a:extLst>
          </p:cNvPr>
          <p:cNvSpPr/>
          <p:nvPr/>
        </p:nvSpPr>
        <p:spPr>
          <a:xfrm>
            <a:off x="1810452" y="4430656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PEX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6374FA8-F233-CAB1-257F-27832EED9E6B}"/>
              </a:ext>
            </a:extLst>
          </p:cNvPr>
          <p:cNvSpPr/>
          <p:nvPr/>
        </p:nvSpPr>
        <p:spPr>
          <a:xfrm>
            <a:off x="1810452" y="4776363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ther investing activiti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E41234-0106-5032-B815-0E0D279CF6DC}"/>
              </a:ext>
            </a:extLst>
          </p:cNvPr>
          <p:cNvSpPr/>
          <p:nvPr/>
        </p:nvSpPr>
        <p:spPr>
          <a:xfrm>
            <a:off x="1810452" y="5122071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eb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7B85430-AD30-D806-40D2-CBA36A7475E8}"/>
              </a:ext>
            </a:extLst>
          </p:cNvPr>
          <p:cNvSpPr/>
          <p:nvPr/>
        </p:nvSpPr>
        <p:spPr>
          <a:xfrm>
            <a:off x="1810452" y="5467778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ividends pai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DE60E49-7E11-CF21-957E-C0D84B7D914A}"/>
              </a:ext>
            </a:extLst>
          </p:cNvPr>
          <p:cNvSpPr/>
          <p:nvPr/>
        </p:nvSpPr>
        <p:spPr>
          <a:xfrm>
            <a:off x="1810452" y="5813485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quity Issuances (buyback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60DD090-F19E-BFC7-FF1E-441EAE9CBEA9}"/>
              </a:ext>
            </a:extLst>
          </p:cNvPr>
          <p:cNvSpPr/>
          <p:nvPr/>
        </p:nvSpPr>
        <p:spPr>
          <a:xfrm>
            <a:off x="1810452" y="6159192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otal change in cas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B072660-2A07-9DDB-ADB2-225B5EDC6505}"/>
              </a:ext>
            </a:extLst>
          </p:cNvPr>
          <p:cNvSpPr txBox="1"/>
          <p:nvPr/>
        </p:nvSpPr>
        <p:spPr>
          <a:xfrm>
            <a:off x="435078" y="2966031"/>
            <a:ext cx="109581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Operating activiti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CF812E2-629D-3974-4245-09E04D79BBE3}"/>
              </a:ext>
            </a:extLst>
          </p:cNvPr>
          <p:cNvSpPr txBox="1"/>
          <p:nvPr/>
        </p:nvSpPr>
        <p:spPr>
          <a:xfrm>
            <a:off x="472908" y="4697023"/>
            <a:ext cx="109581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vesting activitie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81D2D43-4CA3-7DEE-7153-D410672ACCBA}"/>
              </a:ext>
            </a:extLst>
          </p:cNvPr>
          <p:cNvSpPr txBox="1"/>
          <p:nvPr/>
        </p:nvSpPr>
        <p:spPr>
          <a:xfrm>
            <a:off x="466385" y="5555192"/>
            <a:ext cx="109581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Financing </a:t>
            </a:r>
            <a:r>
              <a:rPr kumimoji="0" lang="en-AU" sz="10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ctivities</a:t>
            </a:r>
          </a:p>
        </p:txBody>
      </p:sp>
      <p:sp>
        <p:nvSpPr>
          <p:cNvPr id="53" name="Left Brace 52">
            <a:extLst>
              <a:ext uri="{FF2B5EF4-FFF2-40B4-BE49-F238E27FC236}">
                <a16:creationId xmlns:a16="http://schemas.microsoft.com/office/drawing/2014/main" id="{FD07220C-F6BD-B4A1-D467-F265A424CCCB}"/>
              </a:ext>
            </a:extLst>
          </p:cNvPr>
          <p:cNvSpPr/>
          <p:nvPr/>
        </p:nvSpPr>
        <p:spPr>
          <a:xfrm>
            <a:off x="1458226" y="1993704"/>
            <a:ext cx="273954" cy="2366677"/>
          </a:xfrm>
          <a:prstGeom prst="leftBrace">
            <a:avLst>
              <a:gd name="adj1" fmla="val 29867"/>
              <a:gd name="adj2" fmla="val 50000"/>
            </a:avLst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Left Brace 53">
            <a:extLst>
              <a:ext uri="{FF2B5EF4-FFF2-40B4-BE49-F238E27FC236}">
                <a16:creationId xmlns:a16="http://schemas.microsoft.com/office/drawing/2014/main" id="{AEB9F30A-55D5-D15C-B811-456DBA7D03DA}"/>
              </a:ext>
            </a:extLst>
          </p:cNvPr>
          <p:cNvSpPr/>
          <p:nvPr/>
        </p:nvSpPr>
        <p:spPr>
          <a:xfrm>
            <a:off x="1458226" y="4411387"/>
            <a:ext cx="273954" cy="979315"/>
          </a:xfrm>
          <a:prstGeom prst="leftBrace">
            <a:avLst>
              <a:gd name="adj1" fmla="val 26278"/>
              <a:gd name="adj2" fmla="val 50000"/>
            </a:avLst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Left Brace 54">
            <a:extLst>
              <a:ext uri="{FF2B5EF4-FFF2-40B4-BE49-F238E27FC236}">
                <a16:creationId xmlns:a16="http://schemas.microsoft.com/office/drawing/2014/main" id="{A5B43E58-46AF-7A95-7477-5B1ED4F4E47A}"/>
              </a:ext>
            </a:extLst>
          </p:cNvPr>
          <p:cNvSpPr/>
          <p:nvPr/>
        </p:nvSpPr>
        <p:spPr>
          <a:xfrm>
            <a:off x="1458226" y="5439027"/>
            <a:ext cx="273954" cy="652877"/>
          </a:xfrm>
          <a:prstGeom prst="leftBrace">
            <a:avLst>
              <a:gd name="adj1" fmla="val 26278"/>
              <a:gd name="adj2" fmla="val 50000"/>
            </a:avLst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787DFEE-57AC-2B50-5212-C815054ABF6C}"/>
              </a:ext>
            </a:extLst>
          </p:cNvPr>
          <p:cNvSpPr/>
          <p:nvPr/>
        </p:nvSpPr>
        <p:spPr>
          <a:xfrm>
            <a:off x="7271271" y="1602658"/>
            <a:ext cx="3177868" cy="340040"/>
          </a:xfrm>
          <a:prstGeom prst="rect">
            <a:avLst/>
          </a:prstGeom>
          <a:solidFill>
            <a:srgbClr val="002776"/>
          </a:solidFill>
          <a:ln w="25400" cap="flat" cmpd="sng" algn="ctr">
            <a:solidFill>
              <a:srgbClr val="00277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to Balance Shee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C202774-7C4B-C272-9143-DF1933E02448}"/>
              </a:ext>
            </a:extLst>
          </p:cNvPr>
          <p:cNvSpPr/>
          <p:nvPr/>
        </p:nvSpPr>
        <p:spPr>
          <a:xfrm>
            <a:off x="7271271" y="2010706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sh 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B9E4013-FBF0-0582-91A5-56DFC1BDE7EA}"/>
              </a:ext>
            </a:extLst>
          </p:cNvPr>
          <p:cNvSpPr/>
          <p:nvPr/>
        </p:nvSpPr>
        <p:spPr>
          <a:xfrm>
            <a:off x="7271271" y="2382541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ceivables, net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8E2A5AD-7B30-B572-9188-C93767F764D8}"/>
              </a:ext>
            </a:extLst>
          </p:cNvPr>
          <p:cNvSpPr/>
          <p:nvPr/>
        </p:nvSpPr>
        <p:spPr>
          <a:xfrm>
            <a:off x="7271271" y="2754376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Inventories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9056DA2-5CFF-FF5A-3145-F39FDB73B0C5}"/>
              </a:ext>
            </a:extLst>
          </p:cNvPr>
          <p:cNvSpPr/>
          <p:nvPr/>
        </p:nvSpPr>
        <p:spPr>
          <a:xfrm>
            <a:off x="7271271" y="3126211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Property, plant and equipment, net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8CD9860-F309-54EB-AE57-3732BA20D19D}"/>
              </a:ext>
            </a:extLst>
          </p:cNvPr>
          <p:cNvSpPr/>
          <p:nvPr/>
        </p:nvSpPr>
        <p:spPr>
          <a:xfrm>
            <a:off x="7271271" y="3498046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ther long-term asset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19F9936-242E-05AB-E8B4-15CCAED48CC1}"/>
              </a:ext>
            </a:extLst>
          </p:cNvPr>
          <p:cNvSpPr/>
          <p:nvPr/>
        </p:nvSpPr>
        <p:spPr>
          <a:xfrm>
            <a:off x="7271271" y="3869880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ccounts payabl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DD2FEAB-87B3-35FF-54D3-2580BB29D58F}"/>
              </a:ext>
            </a:extLst>
          </p:cNvPr>
          <p:cNvSpPr/>
          <p:nvPr/>
        </p:nvSpPr>
        <p:spPr>
          <a:xfrm>
            <a:off x="7271271" y="4241715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ccrued liabilities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09E4AD9-2BE3-22A5-ED5E-E5A880AA265C}"/>
              </a:ext>
            </a:extLst>
          </p:cNvPr>
          <p:cNvSpPr/>
          <p:nvPr/>
        </p:nvSpPr>
        <p:spPr>
          <a:xfrm>
            <a:off x="7271271" y="4613550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ebt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161627A-A367-A725-E398-B1F633ADDFE8}"/>
              </a:ext>
            </a:extLst>
          </p:cNvPr>
          <p:cNvSpPr/>
          <p:nvPr/>
        </p:nvSpPr>
        <p:spPr>
          <a:xfrm>
            <a:off x="7271271" y="4985385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eferred income taxe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029AA179-2FF3-2381-E075-AB89452F5316}"/>
              </a:ext>
            </a:extLst>
          </p:cNvPr>
          <p:cNvSpPr/>
          <p:nvPr/>
        </p:nvSpPr>
        <p:spPr>
          <a:xfrm>
            <a:off x="7271271" y="5357219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quity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A14489C-09F5-4325-A646-2F3A6B6512A4}"/>
              </a:ext>
            </a:extLst>
          </p:cNvPr>
          <p:cNvSpPr/>
          <p:nvPr/>
        </p:nvSpPr>
        <p:spPr>
          <a:xfrm>
            <a:off x="7271271" y="5729051"/>
            <a:ext cx="3177868" cy="2612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tained earnings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4" name="Right Brace 73">
            <a:extLst>
              <a:ext uri="{FF2B5EF4-FFF2-40B4-BE49-F238E27FC236}">
                <a16:creationId xmlns:a16="http://schemas.microsoft.com/office/drawing/2014/main" id="{FF3805C6-135A-36F1-E89D-53199C2A3844}"/>
              </a:ext>
            </a:extLst>
          </p:cNvPr>
          <p:cNvSpPr/>
          <p:nvPr/>
        </p:nvSpPr>
        <p:spPr>
          <a:xfrm>
            <a:off x="10464284" y="2020423"/>
            <a:ext cx="273954" cy="1713801"/>
          </a:xfrm>
          <a:prstGeom prst="rightBrace">
            <a:avLst>
              <a:gd name="adj1" fmla="val 29867"/>
              <a:gd name="adj2" fmla="val 50000"/>
            </a:avLst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EB2E1B1-5488-E9F8-B7D4-78FE0075908B}"/>
              </a:ext>
            </a:extLst>
          </p:cNvPr>
          <p:cNvSpPr txBox="1"/>
          <p:nvPr/>
        </p:nvSpPr>
        <p:spPr>
          <a:xfrm>
            <a:off x="10546059" y="2758794"/>
            <a:ext cx="10958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sset</a:t>
            </a:r>
          </a:p>
        </p:txBody>
      </p:sp>
      <p:sp>
        <p:nvSpPr>
          <p:cNvPr id="76" name="Right Brace 75">
            <a:extLst>
              <a:ext uri="{FF2B5EF4-FFF2-40B4-BE49-F238E27FC236}">
                <a16:creationId xmlns:a16="http://schemas.microsoft.com/office/drawing/2014/main" id="{6D8F1C6E-9E60-3E75-6D36-E02C29D1FF6D}"/>
              </a:ext>
            </a:extLst>
          </p:cNvPr>
          <p:cNvSpPr/>
          <p:nvPr/>
        </p:nvSpPr>
        <p:spPr>
          <a:xfrm>
            <a:off x="10464284" y="3846921"/>
            <a:ext cx="273954" cy="1468972"/>
          </a:xfrm>
          <a:prstGeom prst="rightBrace">
            <a:avLst>
              <a:gd name="adj1" fmla="val 29867"/>
              <a:gd name="adj2" fmla="val 50000"/>
            </a:avLst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17FDA45-BE1D-0DBD-C0BF-BA17775E1086}"/>
              </a:ext>
            </a:extLst>
          </p:cNvPr>
          <p:cNvSpPr txBox="1"/>
          <p:nvPr/>
        </p:nvSpPr>
        <p:spPr>
          <a:xfrm>
            <a:off x="10643897" y="4458993"/>
            <a:ext cx="10958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Liabilities</a:t>
            </a:r>
          </a:p>
        </p:txBody>
      </p:sp>
      <p:sp>
        <p:nvSpPr>
          <p:cNvPr id="78" name="Right Brace 77">
            <a:extLst>
              <a:ext uri="{FF2B5EF4-FFF2-40B4-BE49-F238E27FC236}">
                <a16:creationId xmlns:a16="http://schemas.microsoft.com/office/drawing/2014/main" id="{077AE37D-881A-9F3F-2F48-57F2E7423C28}"/>
              </a:ext>
            </a:extLst>
          </p:cNvPr>
          <p:cNvSpPr/>
          <p:nvPr/>
        </p:nvSpPr>
        <p:spPr>
          <a:xfrm>
            <a:off x="10464284" y="5343096"/>
            <a:ext cx="273954" cy="652877"/>
          </a:xfrm>
          <a:prstGeom prst="rightBrace">
            <a:avLst>
              <a:gd name="adj1" fmla="val 22689"/>
              <a:gd name="adj2" fmla="val 50000"/>
            </a:avLst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C444D67-87A7-4261-E5F8-CAACCBF078C0}"/>
              </a:ext>
            </a:extLst>
          </p:cNvPr>
          <p:cNvSpPr txBox="1"/>
          <p:nvPr/>
        </p:nvSpPr>
        <p:spPr>
          <a:xfrm>
            <a:off x="10546059" y="5547120"/>
            <a:ext cx="10958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Equity</a:t>
            </a:r>
          </a:p>
        </p:txBody>
      </p:sp>
      <p:cxnSp>
        <p:nvCxnSpPr>
          <p:cNvPr id="80" name="Elbow Connector 6">
            <a:extLst>
              <a:ext uri="{FF2B5EF4-FFF2-40B4-BE49-F238E27FC236}">
                <a16:creationId xmlns:a16="http://schemas.microsoft.com/office/drawing/2014/main" id="{4547DD3A-A7D9-53B3-AFEF-B82A8EF7CEBE}"/>
              </a:ext>
            </a:extLst>
          </p:cNvPr>
          <p:cNvCxnSpPr>
            <a:stCxn id="36" idx="3"/>
            <a:endCxn id="63" idx="1"/>
          </p:cNvCxnSpPr>
          <p:nvPr/>
        </p:nvCxnSpPr>
        <p:spPr>
          <a:xfrm flipV="1">
            <a:off x="4988320" y="2141343"/>
            <a:ext cx="2282951" cy="4148486"/>
          </a:xfrm>
          <a:prstGeom prst="bentConnector3">
            <a:avLst/>
          </a:prstGeom>
          <a:noFill/>
          <a:ln w="9525" cap="flat" cmpd="sng" algn="ctr">
            <a:solidFill>
              <a:srgbClr val="00B050"/>
            </a:solidFill>
            <a:prstDash val="solid"/>
            <a:tailEnd type="triangle"/>
          </a:ln>
          <a:effectLst/>
        </p:spPr>
      </p:cxnSp>
      <p:cxnSp>
        <p:nvCxnSpPr>
          <p:cNvPr id="81" name="Elbow Connector 10">
            <a:extLst>
              <a:ext uri="{FF2B5EF4-FFF2-40B4-BE49-F238E27FC236}">
                <a16:creationId xmlns:a16="http://schemas.microsoft.com/office/drawing/2014/main" id="{85373B63-AB81-F591-D92A-5E21A7FC527E}"/>
              </a:ext>
            </a:extLst>
          </p:cNvPr>
          <p:cNvCxnSpPr/>
          <p:nvPr/>
        </p:nvCxnSpPr>
        <p:spPr>
          <a:xfrm>
            <a:off x="4988320" y="2078714"/>
            <a:ext cx="2282951" cy="3718345"/>
          </a:xfrm>
          <a:prstGeom prst="bentConnector3">
            <a:avLst>
              <a:gd name="adj1" fmla="val 21714"/>
            </a:avLst>
          </a:prstGeom>
          <a:noFill/>
          <a:ln w="9525" cap="flat" cmpd="sng" algn="ctr">
            <a:solidFill>
              <a:srgbClr val="002776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82" name="Elbow Connector 26">
            <a:extLst>
              <a:ext uri="{FF2B5EF4-FFF2-40B4-BE49-F238E27FC236}">
                <a16:creationId xmlns:a16="http://schemas.microsoft.com/office/drawing/2014/main" id="{BA8C00A1-618C-819B-F6C0-66EC0D096069}"/>
              </a:ext>
            </a:extLst>
          </p:cNvPr>
          <p:cNvCxnSpPr/>
          <p:nvPr/>
        </p:nvCxnSpPr>
        <p:spPr>
          <a:xfrm>
            <a:off x="4988320" y="5554190"/>
            <a:ext cx="2282951" cy="371831"/>
          </a:xfrm>
          <a:prstGeom prst="bentConnector3">
            <a:avLst>
              <a:gd name="adj1" fmla="val 55143"/>
            </a:avLst>
          </a:prstGeom>
          <a:noFill/>
          <a:ln w="9525" cap="flat" cmpd="sng" algn="ctr">
            <a:solidFill>
              <a:srgbClr val="002776">
                <a:lumMod val="40000"/>
                <a:lumOff val="60000"/>
              </a:srgbClr>
            </a:solidFill>
            <a:prstDash val="solid"/>
            <a:tailEnd type="triangle"/>
          </a:ln>
          <a:effectLst/>
        </p:spPr>
      </p:cxnSp>
      <p:cxnSp>
        <p:nvCxnSpPr>
          <p:cNvPr id="83" name="Elbow Connector 82">
            <a:extLst>
              <a:ext uri="{FF2B5EF4-FFF2-40B4-BE49-F238E27FC236}">
                <a16:creationId xmlns:a16="http://schemas.microsoft.com/office/drawing/2014/main" id="{B60F362E-FDCB-36E2-9BBA-4B4E617E90AE}"/>
              </a:ext>
            </a:extLst>
          </p:cNvPr>
          <p:cNvCxnSpPr>
            <a:stCxn id="35" idx="3"/>
            <a:endCxn id="72" idx="1"/>
          </p:cNvCxnSpPr>
          <p:nvPr/>
        </p:nvCxnSpPr>
        <p:spPr>
          <a:xfrm flipV="1">
            <a:off x="4988320" y="5487856"/>
            <a:ext cx="2282951" cy="456266"/>
          </a:xfrm>
          <a:prstGeom prst="bentConnector3">
            <a:avLst>
              <a:gd name="adj1" fmla="val 80857"/>
            </a:avLst>
          </a:prstGeom>
          <a:noFill/>
          <a:ln w="9525" cap="flat" cmpd="sng" algn="ctr">
            <a:solidFill>
              <a:srgbClr val="002776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84" name="Elbow Connector 84">
            <a:extLst>
              <a:ext uri="{FF2B5EF4-FFF2-40B4-BE49-F238E27FC236}">
                <a16:creationId xmlns:a16="http://schemas.microsoft.com/office/drawing/2014/main" id="{DFD459F2-43FC-960A-8CEB-86C07B31C12E}"/>
              </a:ext>
            </a:extLst>
          </p:cNvPr>
          <p:cNvCxnSpPr>
            <a:stCxn id="23" idx="3"/>
            <a:endCxn id="70" idx="1"/>
          </p:cNvCxnSpPr>
          <p:nvPr/>
        </p:nvCxnSpPr>
        <p:spPr>
          <a:xfrm flipV="1">
            <a:off x="4988320" y="4744187"/>
            <a:ext cx="2282951" cy="508520"/>
          </a:xfrm>
          <a:prstGeom prst="bentConnector3">
            <a:avLst>
              <a:gd name="adj1" fmla="val 61429"/>
            </a:avLst>
          </a:prstGeom>
          <a:noFill/>
          <a:ln w="9525" cap="flat" cmpd="sng" algn="ctr">
            <a:solidFill>
              <a:srgbClr val="7030A0"/>
            </a:solidFill>
            <a:prstDash val="solid"/>
            <a:tailEnd type="triangle"/>
          </a:ln>
          <a:effectLst/>
        </p:spPr>
      </p:cxnSp>
      <p:cxnSp>
        <p:nvCxnSpPr>
          <p:cNvPr id="85" name="Elbow Connector 86">
            <a:extLst>
              <a:ext uri="{FF2B5EF4-FFF2-40B4-BE49-F238E27FC236}">
                <a16:creationId xmlns:a16="http://schemas.microsoft.com/office/drawing/2014/main" id="{FA192CBB-8C6B-C67A-F770-9C5CF1879026}"/>
              </a:ext>
            </a:extLst>
          </p:cNvPr>
          <p:cNvCxnSpPr/>
          <p:nvPr/>
        </p:nvCxnSpPr>
        <p:spPr>
          <a:xfrm flipV="1">
            <a:off x="4988320" y="3222843"/>
            <a:ext cx="2282951" cy="1304446"/>
          </a:xfrm>
          <a:prstGeom prst="bentConnector3">
            <a:avLst>
              <a:gd name="adj1" fmla="val 31429"/>
            </a:avLst>
          </a:prstGeom>
          <a:noFill/>
          <a:ln w="9525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cxnSp>
        <p:nvCxnSpPr>
          <p:cNvPr id="86" name="Elbow Connector 88">
            <a:extLst>
              <a:ext uri="{FF2B5EF4-FFF2-40B4-BE49-F238E27FC236}">
                <a16:creationId xmlns:a16="http://schemas.microsoft.com/office/drawing/2014/main" id="{D31924C9-A283-CD4F-AA7C-ACD8E54E16F7}"/>
              </a:ext>
            </a:extLst>
          </p:cNvPr>
          <p:cNvCxnSpPr>
            <a:stCxn id="19" idx="3"/>
            <a:endCxn id="67" idx="1"/>
          </p:cNvCxnSpPr>
          <p:nvPr/>
        </p:nvCxnSpPr>
        <p:spPr>
          <a:xfrm flipV="1">
            <a:off x="4988320" y="3628682"/>
            <a:ext cx="2282951" cy="1278318"/>
          </a:xfrm>
          <a:prstGeom prst="bentConnector3">
            <a:avLst>
              <a:gd name="adj1" fmla="val 40571"/>
            </a:avLst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  <a:tailEnd type="triangle"/>
          </a:ln>
          <a:effectLst/>
        </p:spPr>
      </p:cxnSp>
      <p:cxnSp>
        <p:nvCxnSpPr>
          <p:cNvPr id="87" name="Elbow Connector 90">
            <a:extLst>
              <a:ext uri="{FF2B5EF4-FFF2-40B4-BE49-F238E27FC236}">
                <a16:creationId xmlns:a16="http://schemas.microsoft.com/office/drawing/2014/main" id="{3AF86B85-5FB3-EEDE-15DA-5E0BD56A7C1E}"/>
              </a:ext>
            </a:extLst>
          </p:cNvPr>
          <p:cNvCxnSpPr/>
          <p:nvPr/>
        </p:nvCxnSpPr>
        <p:spPr>
          <a:xfrm>
            <a:off x="4988320" y="2579349"/>
            <a:ext cx="2282951" cy="769798"/>
          </a:xfrm>
          <a:prstGeom prst="bentConnector3">
            <a:avLst>
              <a:gd name="adj1" fmla="val 61429"/>
            </a:avLst>
          </a:prstGeom>
          <a:noFill/>
          <a:ln w="9525" cap="flat" cmpd="sng" algn="ctr">
            <a:solidFill>
              <a:srgbClr val="92D400"/>
            </a:solidFill>
            <a:prstDash val="solid"/>
            <a:tailEnd type="triangle"/>
          </a:ln>
          <a:effectLst/>
        </p:spPr>
      </p:cxnSp>
      <p:cxnSp>
        <p:nvCxnSpPr>
          <p:cNvPr id="88" name="Elbow Connector 100">
            <a:extLst>
              <a:ext uri="{FF2B5EF4-FFF2-40B4-BE49-F238E27FC236}">
                <a16:creationId xmlns:a16="http://schemas.microsoft.com/office/drawing/2014/main" id="{C706844B-CD64-3606-3860-C4B7DBD12AD5}"/>
              </a:ext>
            </a:extLst>
          </p:cNvPr>
          <p:cNvCxnSpPr>
            <a:stCxn id="10" idx="3"/>
            <a:endCxn id="71" idx="1"/>
          </p:cNvCxnSpPr>
          <p:nvPr/>
        </p:nvCxnSpPr>
        <p:spPr>
          <a:xfrm>
            <a:off x="4988320" y="2832757"/>
            <a:ext cx="2282951" cy="2283265"/>
          </a:xfrm>
          <a:prstGeom prst="bentConnector3">
            <a:avLst>
              <a:gd name="adj1" fmla="val 76857"/>
            </a:avLst>
          </a:prstGeom>
          <a:noFill/>
          <a:ln w="9525" cap="flat" cmpd="sng" algn="ctr">
            <a:solidFill>
              <a:srgbClr val="002776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89" name="Elbow Connector 103">
            <a:extLst>
              <a:ext uri="{FF2B5EF4-FFF2-40B4-BE49-F238E27FC236}">
                <a16:creationId xmlns:a16="http://schemas.microsoft.com/office/drawing/2014/main" id="{84E6B535-7702-B4A4-58BA-E18D9E2B2600}"/>
              </a:ext>
            </a:extLst>
          </p:cNvPr>
          <p:cNvCxnSpPr>
            <a:stCxn id="11" idx="3"/>
            <a:endCxn id="64" idx="1"/>
          </p:cNvCxnSpPr>
          <p:nvPr/>
        </p:nvCxnSpPr>
        <p:spPr>
          <a:xfrm flipV="1">
            <a:off x="4988320" y="2513178"/>
            <a:ext cx="2282951" cy="665287"/>
          </a:xfrm>
          <a:prstGeom prst="bentConnector3">
            <a:avLst>
              <a:gd name="adj1" fmla="val 88000"/>
            </a:avLst>
          </a:prstGeom>
          <a:noFill/>
          <a:ln w="9525" cap="flat" cmpd="sng" algn="ctr">
            <a:solidFill>
              <a:srgbClr val="002776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90" name="Elbow Connector 106">
            <a:extLst>
              <a:ext uri="{FF2B5EF4-FFF2-40B4-BE49-F238E27FC236}">
                <a16:creationId xmlns:a16="http://schemas.microsoft.com/office/drawing/2014/main" id="{D5A5CB3A-3639-7FE1-46AE-B214A5A71AAC}"/>
              </a:ext>
            </a:extLst>
          </p:cNvPr>
          <p:cNvCxnSpPr>
            <a:stCxn id="14" idx="3"/>
            <a:endCxn id="65" idx="1"/>
          </p:cNvCxnSpPr>
          <p:nvPr/>
        </p:nvCxnSpPr>
        <p:spPr>
          <a:xfrm flipV="1">
            <a:off x="4988320" y="2885013"/>
            <a:ext cx="2282951" cy="639159"/>
          </a:xfrm>
          <a:prstGeom prst="bentConnector3">
            <a:avLst>
              <a:gd name="adj1" fmla="val 7429"/>
            </a:avLst>
          </a:prstGeom>
          <a:noFill/>
          <a:ln w="9525" cap="flat" cmpd="sng" algn="ctr">
            <a:solidFill>
              <a:srgbClr val="002776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91" name="Elbow Connector 109">
            <a:extLst>
              <a:ext uri="{FF2B5EF4-FFF2-40B4-BE49-F238E27FC236}">
                <a16:creationId xmlns:a16="http://schemas.microsoft.com/office/drawing/2014/main" id="{F3313614-5711-8208-B0D8-7A54D3C36F8B}"/>
              </a:ext>
            </a:extLst>
          </p:cNvPr>
          <p:cNvCxnSpPr>
            <a:stCxn id="15" idx="3"/>
            <a:endCxn id="68" idx="1"/>
          </p:cNvCxnSpPr>
          <p:nvPr/>
        </p:nvCxnSpPr>
        <p:spPr>
          <a:xfrm>
            <a:off x="4988320" y="3869879"/>
            <a:ext cx="2282951" cy="130639"/>
          </a:xfrm>
          <a:prstGeom prst="bentConnector3">
            <a:avLst>
              <a:gd name="adj1" fmla="val 59429"/>
            </a:avLst>
          </a:prstGeom>
          <a:noFill/>
          <a:ln w="9525" cap="flat" cmpd="sng" algn="ctr">
            <a:solidFill>
              <a:srgbClr val="002776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92" name="Elbow Connector 112">
            <a:extLst>
              <a:ext uri="{FF2B5EF4-FFF2-40B4-BE49-F238E27FC236}">
                <a16:creationId xmlns:a16="http://schemas.microsoft.com/office/drawing/2014/main" id="{57EA1AA0-E25F-DDC7-A4B8-63B0CEE45400}"/>
              </a:ext>
            </a:extLst>
          </p:cNvPr>
          <p:cNvCxnSpPr>
            <a:stCxn id="17" idx="3"/>
            <a:endCxn id="69" idx="1"/>
          </p:cNvCxnSpPr>
          <p:nvPr/>
        </p:nvCxnSpPr>
        <p:spPr>
          <a:xfrm>
            <a:off x="4988320" y="4215586"/>
            <a:ext cx="2282951" cy="156766"/>
          </a:xfrm>
          <a:prstGeom prst="bentConnector3">
            <a:avLst>
              <a:gd name="adj1" fmla="val 84571"/>
            </a:avLst>
          </a:prstGeom>
          <a:noFill/>
          <a:ln w="9525" cap="flat" cmpd="sng" algn="ctr">
            <a:solidFill>
              <a:srgbClr val="FFC000"/>
            </a:solidFill>
            <a:prstDash val="soli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0395516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EHY7w9p97v31oJEX9mA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LE9WS72SqpZufFKGkeW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Fj9g7Zy2LthORA4sdb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8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eme3">
  <a:themeElements>
    <a:clrScheme name="Custom 1">
      <a:dk1>
        <a:srgbClr val="FFFFFF"/>
      </a:dk1>
      <a:lt1>
        <a:srgbClr val="002060"/>
      </a:lt1>
      <a:dk2>
        <a:srgbClr val="002060"/>
      </a:dk2>
      <a:lt2>
        <a:srgbClr val="002060"/>
      </a:lt2>
      <a:accent1>
        <a:srgbClr val="002060"/>
      </a:accent1>
      <a:accent2>
        <a:srgbClr val="00B0F0"/>
      </a:accent2>
      <a:accent3>
        <a:srgbClr val="00B050"/>
      </a:accent3>
      <a:accent4>
        <a:srgbClr val="92D050"/>
      </a:accent4>
      <a:accent5>
        <a:srgbClr val="FFC000"/>
      </a:accent5>
      <a:accent6>
        <a:srgbClr val="FF000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3" id="{7D1C7C3E-DDBB-4A1D-8861-A10BD3664B8D}" vid="{E1945AC1-AF09-43B9-95F3-80375804439E}"/>
    </a:ext>
  </a:extLst>
</a:theme>
</file>

<file path=ppt/theme/theme3.xml><?xml version="1.0" encoding="utf-8"?>
<a:theme xmlns:a="http://schemas.openxmlformats.org/drawingml/2006/main" name="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7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3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68</TotalTime>
  <Words>578</Words>
  <Application>Microsoft Office PowerPoint</Application>
  <PresentationFormat>Widescreen</PresentationFormat>
  <Paragraphs>127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5" baseType="lpstr">
      <vt:lpstr>Arial</vt:lpstr>
      <vt:lpstr>Calibri</vt:lpstr>
      <vt:lpstr>Wingdings 2</vt:lpstr>
      <vt:lpstr>Custom Design</vt:lpstr>
      <vt:lpstr>Theme3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think-cell Slide</vt:lpstr>
      <vt:lpstr>Three Financial Statements Model  Example 1 - Tutorial</vt:lpstr>
      <vt:lpstr>Step 1 - Open the document “Three Financial Statement Model” and fill in the cover page</vt:lpstr>
      <vt:lpstr>Step 2 - Click on the tab 2 “Three Statement Model” and make sure that you do not need to add or remove a building block based on your specificities</vt:lpstr>
      <vt:lpstr>Step 3 - Adjust if required the periodicity based on the specificities of your organization</vt:lpstr>
      <vt:lpstr>Step 4 - Adjust if required the items in each building block</vt:lpstr>
      <vt:lpstr>Step 5 - Fill in the templates more or less in the order displayed below</vt:lpstr>
      <vt:lpstr>Step 6 - Double check that your balance sheet is balanced</vt:lpstr>
      <vt:lpstr>Step 7 - If the balance sheet is not balanced, review all your inputs, formulas and links Example of how the income statement and cash flow statement can be linked</vt:lpstr>
      <vt:lpstr>Step 7 - If the balance sheet is not balanced, review all your inputs, formulas and links Example of how the cash flow statement can be linked directly to the balance sheet</vt:lpstr>
      <vt:lpstr>Interested in more than 1 Toolkit?  Access all our Toolkits for half the price with our Gold Access</vt:lpstr>
      <vt:lpstr>Thanks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374</cp:revision>
  <dcterms:created xsi:type="dcterms:W3CDTF">2020-07-08T04:44:55Z</dcterms:created>
  <dcterms:modified xsi:type="dcterms:W3CDTF">2023-06-07T00:54:5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